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sldIdLst>
    <p:sldId id="589" r:id="rId5"/>
    <p:sldId id="714" r:id="rId6"/>
    <p:sldId id="715" r:id="rId7"/>
    <p:sldId id="724" r:id="rId8"/>
    <p:sldId id="716" r:id="rId9"/>
    <p:sldId id="725" r:id="rId10"/>
    <p:sldId id="719" r:id="rId11"/>
    <p:sldId id="720" r:id="rId12"/>
    <p:sldId id="721" r:id="rId13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5745" userDrawn="1">
          <p15:clr>
            <a:srgbClr val="A4A3A4"/>
          </p15:clr>
        </p15:guide>
        <p15:guide id="4" pos="19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270F"/>
    <a:srgbClr val="DEEBF7"/>
    <a:srgbClr val="BDD7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B760F7-8AF2-4E5A-A083-BEF0E4EB0C30}" v="377" dt="2019-10-04T12:31:08.287"/>
    <p1510:client id="{302FD441-2397-46BF-A99F-DEF61409A576}" v="348" dt="2019-10-03T22:28:52.356"/>
    <p1510:client id="{A154A59F-AF8D-453F-9BDB-3B928A039C03}" v="188" dt="2019-10-04T01:34:56.450"/>
    <p1510:client id="{ACCCAE3D-FD6D-4AB0-98CE-FBA7DF7DCE66}" v="340" dt="2019-10-03T20:27:38.967"/>
    <p1510:client id="{AE40F244-C37E-4351-8CF6-BE73CF4E6812}" v="2" dt="2019-10-04T01:16:15.886"/>
    <p1510:client id="{B7DE9452-DA08-45F8-9626-B3DCB7E7EFF5}" v="415" dt="2019-10-03T20:48:23.983"/>
    <p1510:client id="{C2207EED-A888-43FF-A0EF-A446F4B2B411}" v="7" dt="2019-10-03T20:09:33.894"/>
    <p1510:client id="{ECB6EB56-B74F-4507-8BA8-CC95302BFF8B}" v="312" dt="2019-10-04T01:45:34.0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799B23B-EC83-4686-B30A-512413B5E67A}" styleName="Estilo Claro 3 - Ênfas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792" y="72"/>
      </p:cViewPr>
      <p:guideLst>
        <p:guide orient="horz" pos="2160"/>
        <p:guide pos="3840"/>
        <p:guide pos="5745"/>
        <p:guide pos="19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ne Morais Santana" userId="S::elinesantana@br-petrobras.com.br::9b09ed21-70c5-4f55-9d7b-516cd944abbd" providerId="AD" clId="Web-{AE40F244-C37E-4351-8CF6-BE73CF4E6812}"/>
    <pc:docChg chg="modSld">
      <pc:chgData name="Eline Morais Santana" userId="S::elinesantana@br-petrobras.com.br::9b09ed21-70c5-4f55-9d7b-516cd944abbd" providerId="AD" clId="Web-{AE40F244-C37E-4351-8CF6-BE73CF4E6812}" dt="2019-10-04T01:16:15.886" v="1" actId="20577"/>
      <pc:docMkLst>
        <pc:docMk/>
      </pc:docMkLst>
      <pc:sldChg chg="modSp">
        <pc:chgData name="Eline Morais Santana" userId="S::elinesantana@br-petrobras.com.br::9b09ed21-70c5-4f55-9d7b-516cd944abbd" providerId="AD" clId="Web-{AE40F244-C37E-4351-8CF6-BE73CF4E6812}" dt="2019-10-04T01:16:15.886" v="1" actId="20577"/>
        <pc:sldMkLst>
          <pc:docMk/>
          <pc:sldMk cId="4215286545" sldId="726"/>
        </pc:sldMkLst>
        <pc:spChg chg="mod">
          <ac:chgData name="Eline Morais Santana" userId="S::elinesantana@br-petrobras.com.br::9b09ed21-70c5-4f55-9d7b-516cd944abbd" providerId="AD" clId="Web-{AE40F244-C37E-4351-8CF6-BE73CF4E6812}" dt="2019-10-04T01:16:15.886" v="1" actId="20577"/>
          <ac:spMkLst>
            <pc:docMk/>
            <pc:sldMk cId="4215286545" sldId="726"/>
            <ac:spMk id="21" creationId="{2A319F21-DEA4-4576-9746-2E213904C923}"/>
          </ac:spMkLst>
        </pc:spChg>
      </pc:sldChg>
    </pc:docChg>
  </pc:docChgLst>
  <pc:docChgLst>
    <pc:chgData name="Viviane Antonia Correa Thome" userId="S::vivianec@br-petrobras.com.br::b9a153ef-313d-4389-b52e-cbd595dfd54a" providerId="AD" clId="Web-{367505EC-DDB4-4271-8616-80C3E9BD2C16}"/>
    <pc:docChg chg="modSld">
      <pc:chgData name="Viviane Antonia Correa Thome" userId="S::vivianec@br-petrobras.com.br::b9a153ef-313d-4389-b52e-cbd595dfd54a" providerId="AD" clId="Web-{367505EC-DDB4-4271-8616-80C3E9BD2C16}" dt="2019-06-28T12:02:40.104" v="2" actId="20577"/>
      <pc:docMkLst>
        <pc:docMk/>
      </pc:docMkLst>
      <pc:sldChg chg="modSp">
        <pc:chgData name="Viviane Antonia Correa Thome" userId="S::vivianec@br-petrobras.com.br::b9a153ef-313d-4389-b52e-cbd595dfd54a" providerId="AD" clId="Web-{367505EC-DDB4-4271-8616-80C3E9BD2C16}" dt="2019-06-28T12:02:40.104" v="2" actId="20577"/>
        <pc:sldMkLst>
          <pc:docMk/>
          <pc:sldMk cId="0" sldId="662"/>
        </pc:sldMkLst>
        <pc:spChg chg="mod">
          <ac:chgData name="Viviane Antonia Correa Thome" userId="S::vivianec@br-petrobras.com.br::b9a153ef-313d-4389-b52e-cbd595dfd54a" providerId="AD" clId="Web-{367505EC-DDB4-4271-8616-80C3E9BD2C16}" dt="2019-06-28T12:02:40.104" v="2" actId="20577"/>
          <ac:spMkLst>
            <pc:docMk/>
            <pc:sldMk cId="0" sldId="662"/>
            <ac:spMk id="4" creationId="{00000000-0000-0000-0000-000000000000}"/>
          </ac:spMkLst>
        </pc:spChg>
      </pc:sldChg>
    </pc:docChg>
  </pc:docChgLst>
  <pc:docChgLst>
    <pc:chgData name="Suzana Gonzaga da Veiga" userId="S::suzana@br-petrobras.com.br::4b7d51ec-c2fb-48db-9c6f-13fb9b214ed0" providerId="AD" clId="Web-{302FD441-2397-46BF-A99F-DEF61409A576}"/>
    <pc:docChg chg="addSld delSld modSld">
      <pc:chgData name="Suzana Gonzaga da Veiga" userId="S::suzana@br-petrobras.com.br::4b7d51ec-c2fb-48db-9c6f-13fb9b214ed0" providerId="AD" clId="Web-{302FD441-2397-46BF-A99F-DEF61409A576}" dt="2019-10-03T22:28:52.356" v="331"/>
      <pc:docMkLst>
        <pc:docMk/>
      </pc:docMkLst>
      <pc:sldChg chg="addSp delSp modSp">
        <pc:chgData name="Suzana Gonzaga da Veiga" userId="S::suzana@br-petrobras.com.br::4b7d51ec-c2fb-48db-9c6f-13fb9b214ed0" providerId="AD" clId="Web-{302FD441-2397-46BF-A99F-DEF61409A576}" dt="2019-10-03T22:28:50.575" v="330" actId="1076"/>
        <pc:sldMkLst>
          <pc:docMk/>
          <pc:sldMk cId="4215286545" sldId="726"/>
        </pc:sldMkLst>
        <pc:spChg chg="add mod">
          <ac:chgData name="Suzana Gonzaga da Veiga" userId="S::suzana@br-petrobras.com.br::4b7d51ec-c2fb-48db-9c6f-13fb9b214ed0" providerId="AD" clId="Web-{302FD441-2397-46BF-A99F-DEF61409A576}" dt="2019-10-03T22:23:55.433" v="302" actId="1076"/>
          <ac:spMkLst>
            <pc:docMk/>
            <pc:sldMk cId="4215286545" sldId="726"/>
            <ac:spMk id="2" creationId="{D91A3B9C-D3DC-46B7-94BD-D1522F2DE0B4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8:50.575" v="330" actId="1076"/>
          <ac:spMkLst>
            <pc:docMk/>
            <pc:sldMk cId="4215286545" sldId="726"/>
            <ac:spMk id="3" creationId="{37C0A1D1-A305-4567-B198-A65FB2E75795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1:14:49.995" v="9"/>
          <ac:spMkLst>
            <pc:docMk/>
            <pc:sldMk cId="4215286545" sldId="726"/>
            <ac:spMk id="4" creationId="{5FEF8EC8-3786-475E-BBDA-081DC65C3386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2:14:22.181" v="189"/>
          <ac:spMkLst>
            <pc:docMk/>
            <pc:sldMk cId="4215286545" sldId="726"/>
            <ac:spMk id="5" creationId="{AEDAF196-3295-4050-B715-965315EFAF54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59.652" v="303" actId="1076"/>
          <ac:spMkLst>
            <pc:docMk/>
            <pc:sldMk cId="4215286545" sldId="726"/>
            <ac:spMk id="6" creationId="{1B4873A3-5A8B-4BEF-9AFB-25E022E682BD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2:13:20.618" v="174"/>
          <ac:spMkLst>
            <pc:docMk/>
            <pc:sldMk cId="4215286545" sldId="726"/>
            <ac:spMk id="7" creationId="{D45D851A-DDF2-4084-A827-DA72F0ABE6F1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2:13:23.352" v="175"/>
          <ac:spMkLst>
            <pc:docMk/>
            <pc:sldMk cId="4215286545" sldId="726"/>
            <ac:spMk id="8" creationId="{2C2989FE-782E-43E2-B109-5E11DB882D46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34.105" v="284" actId="1076"/>
          <ac:spMkLst>
            <pc:docMk/>
            <pc:sldMk cId="4215286545" sldId="726"/>
            <ac:spMk id="9" creationId="{9E424FBC-A4D1-4925-9500-BDB7DA9FC577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41.495" v="287" actId="1076"/>
          <ac:spMkLst>
            <pc:docMk/>
            <pc:sldMk cId="4215286545" sldId="726"/>
            <ac:spMk id="10" creationId="{7BA46155-DDFD-4D63-820B-B4B6F9469E60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17:19.650" v="220" actId="1076"/>
          <ac:spMkLst>
            <pc:docMk/>
            <pc:sldMk cId="4215286545" sldId="726"/>
            <ac:spMk id="11" creationId="{1ECFECB8-9C17-40FB-BC8A-DA2DC86AACAC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19:28.994" v="245" actId="1076"/>
          <ac:spMkLst>
            <pc:docMk/>
            <pc:sldMk cId="4215286545" sldId="726"/>
            <ac:spMk id="12" creationId="{88C9E01E-3AA0-4789-9B4A-238E25FAA662}"/>
          </ac:spMkLst>
        </pc:spChg>
        <pc:spChg chg="mod">
          <ac:chgData name="Suzana Gonzaga da Veiga" userId="S::suzana@br-petrobras.com.br::4b7d51ec-c2fb-48db-9c6f-13fb9b214ed0" providerId="AD" clId="Web-{302FD441-2397-46BF-A99F-DEF61409A576}" dt="2019-10-03T22:26:10.418" v="322"/>
          <ac:spMkLst>
            <pc:docMk/>
            <pc:sldMk cId="4215286545" sldId="726"/>
            <ac:spMk id="13" creationId="{01D78B8A-DF58-42C7-98D8-FFD5C3BE0F39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34.152" v="286" actId="1076"/>
          <ac:spMkLst>
            <pc:docMk/>
            <pc:sldMk cId="4215286545" sldId="726"/>
            <ac:spMk id="14" creationId="{3FD17863-B8A0-4F6E-8580-8C558849E99A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34.136" v="285" actId="1076"/>
          <ac:spMkLst>
            <pc:docMk/>
            <pc:sldMk cId="4215286545" sldId="726"/>
            <ac:spMk id="15" creationId="{2ABC4F85-B44B-4B0D-A64D-D6B46B7E7B36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41.511" v="288" actId="1076"/>
          <ac:spMkLst>
            <pc:docMk/>
            <pc:sldMk cId="4215286545" sldId="726"/>
            <ac:spMk id="16" creationId="{5AA890F2-2EC5-48D4-9756-6E64E03B9967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41.542" v="289" actId="1076"/>
          <ac:spMkLst>
            <pc:docMk/>
            <pc:sldMk cId="4215286545" sldId="726"/>
            <ac:spMk id="17" creationId="{17F1F5DF-4747-433F-8068-B0A61F544D5B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5:37.746" v="318" actId="20577"/>
          <ac:spMkLst>
            <pc:docMk/>
            <pc:sldMk cId="4215286545" sldId="726"/>
            <ac:spMk id="18" creationId="{FFE0C1D6-03C1-4EE0-855D-64DFC5B349F0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5:49.543" v="321" actId="1076"/>
          <ac:spMkLst>
            <pc:docMk/>
            <pc:sldMk cId="4215286545" sldId="726"/>
            <ac:spMk id="19" creationId="{D073AA84-65D5-4BFB-B7D0-218FD9199FF1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46.886" v="295" actId="1076"/>
          <ac:spMkLst>
            <pc:docMk/>
            <pc:sldMk cId="4215286545" sldId="726"/>
            <ac:spMk id="20" creationId="{3DDD7CB2-8CCD-4AAF-A321-7FEA9940D3DC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5:43.965" v="320" actId="20577"/>
          <ac:spMkLst>
            <pc:docMk/>
            <pc:sldMk cId="4215286545" sldId="726"/>
            <ac:spMk id="21" creationId="{2A319F21-DEA4-4576-9746-2E213904C923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51.917" v="300" actId="1076"/>
          <ac:spMkLst>
            <pc:docMk/>
            <pc:sldMk cId="4215286545" sldId="726"/>
            <ac:spMk id="22" creationId="{EA7FB2CB-7FD4-4EF9-961E-88C7323F9E5A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51.949" v="301" actId="1076"/>
          <ac:spMkLst>
            <pc:docMk/>
            <pc:sldMk cId="4215286545" sldId="726"/>
            <ac:spMk id="23" creationId="{7F96FAD8-2BB2-499D-95C8-0AE3B4570EBC}"/>
          </ac:spMkLst>
        </pc:spChg>
      </pc:sldChg>
      <pc:sldChg chg="addSp delSp modSp new del mod modClrScheme chgLayout">
        <pc:chgData name="Suzana Gonzaga da Veiga" userId="S::suzana@br-petrobras.com.br::4b7d51ec-c2fb-48db-9c6f-13fb9b214ed0" providerId="AD" clId="Web-{302FD441-2397-46BF-A99F-DEF61409A576}" dt="2019-10-03T22:12:45.290" v="168"/>
        <pc:sldMkLst>
          <pc:docMk/>
          <pc:sldMk cId="476430705" sldId="728"/>
        </pc:sldMkLst>
        <pc:spChg chg="del">
          <ac:chgData name="Suzana Gonzaga da Veiga" userId="S::suzana@br-petrobras.com.br::4b7d51ec-c2fb-48db-9c6f-13fb9b214ed0" providerId="AD" clId="Web-{302FD441-2397-46BF-A99F-DEF61409A576}" dt="2019-10-03T22:12:26.774" v="166"/>
          <ac:spMkLst>
            <pc:docMk/>
            <pc:sldMk cId="476430705" sldId="728"/>
            <ac:spMk id="2" creationId="{3E091363-E696-49C5-964B-AE0F7F62F963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12:26.774" v="166"/>
          <ac:spMkLst>
            <pc:docMk/>
            <pc:sldMk cId="476430705" sldId="728"/>
            <ac:spMk id="3" creationId="{D22D4482-2EA3-4CEF-8F5E-5377712FBDA8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12:26.774" v="166"/>
          <ac:spMkLst>
            <pc:docMk/>
            <pc:sldMk cId="476430705" sldId="728"/>
            <ac:spMk id="4" creationId="{A568340F-130C-4225-8E98-556275E7CE69}"/>
          </ac:spMkLst>
        </pc:spChg>
        <pc:graphicFrameChg chg="add mod">
          <ac:chgData name="Suzana Gonzaga da Veiga" userId="S::suzana@br-petrobras.com.br::4b7d51ec-c2fb-48db-9c6f-13fb9b214ed0" providerId="AD" clId="Web-{302FD441-2397-46BF-A99F-DEF61409A576}" dt="2019-10-03T22:12:29.290" v="167"/>
          <ac:graphicFrameMkLst>
            <pc:docMk/>
            <pc:sldMk cId="476430705" sldId="728"/>
            <ac:graphicFrameMk id="6" creationId="{CD4C8DF0-2025-41CB-A189-D56C3CA328DA}"/>
          </ac:graphicFrameMkLst>
        </pc:graphicFrameChg>
      </pc:sldChg>
      <pc:sldChg chg="addSp delSp modSp new mod modClrScheme chgLayout">
        <pc:chgData name="Suzana Gonzaga da Veiga" userId="S::suzana@br-petrobras.com.br::4b7d51ec-c2fb-48db-9c6f-13fb9b214ed0" providerId="AD" clId="Web-{302FD441-2397-46BF-A99F-DEF61409A576}" dt="2019-10-03T22:21:43.245" v="280" actId="20577"/>
        <pc:sldMkLst>
          <pc:docMk/>
          <pc:sldMk cId="920938819" sldId="728"/>
        </pc:sldMkLst>
        <pc:spChg chg="del">
          <ac:chgData name="Suzana Gonzaga da Veiga" userId="S::suzana@br-petrobras.com.br::4b7d51ec-c2fb-48db-9c6f-13fb9b214ed0" providerId="AD" clId="Web-{302FD441-2397-46BF-A99F-DEF61409A576}" dt="2019-10-03T22:20:56.714" v="266"/>
          <ac:spMkLst>
            <pc:docMk/>
            <pc:sldMk cId="920938819" sldId="728"/>
            <ac:spMk id="2" creationId="{DB0FF65E-90B1-4503-AD8A-5E2F32706CFF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20:56.714" v="266"/>
          <ac:spMkLst>
            <pc:docMk/>
            <pc:sldMk cId="920938819" sldId="728"/>
            <ac:spMk id="3" creationId="{757F35ED-C574-46B7-AAEC-C7217E3F2D99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20:56.714" v="266"/>
          <ac:spMkLst>
            <pc:docMk/>
            <pc:sldMk cId="920938819" sldId="728"/>
            <ac:spMk id="4" creationId="{71D72EFD-7E8A-4D78-ABF5-B3125DF746EB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1:43.245" v="280" actId="20577"/>
          <ac:spMkLst>
            <pc:docMk/>
            <pc:sldMk cId="920938819" sldId="728"/>
            <ac:spMk id="8" creationId="{60A953B5-4703-4185-BC23-763474EC96E4}"/>
          </ac:spMkLst>
        </pc:spChg>
        <pc:graphicFrameChg chg="add mod modGraphic">
          <ac:chgData name="Suzana Gonzaga da Veiga" userId="S::suzana@br-petrobras.com.br::4b7d51ec-c2fb-48db-9c6f-13fb9b214ed0" providerId="AD" clId="Web-{302FD441-2397-46BF-A99F-DEF61409A576}" dt="2019-10-03T22:21:04.714" v="268"/>
          <ac:graphicFrameMkLst>
            <pc:docMk/>
            <pc:sldMk cId="920938819" sldId="728"/>
            <ac:graphicFrameMk id="6" creationId="{EAD42ACE-CC91-41B5-9583-4CFEC13A13E6}"/>
          </ac:graphicFrameMkLst>
        </pc:graphicFrameChg>
      </pc:sldChg>
      <pc:sldChg chg="addSp delSp modSp new del mod setBg modClrScheme modShow chgLayout">
        <pc:chgData name="Suzana Gonzaga da Veiga" userId="S::suzana@br-petrobras.com.br::4b7d51ec-c2fb-48db-9c6f-13fb9b214ed0" providerId="AD" clId="Web-{302FD441-2397-46BF-A99F-DEF61409A576}" dt="2019-10-03T22:10:43.602" v="164"/>
        <pc:sldMkLst>
          <pc:docMk/>
          <pc:sldMk cId="1837394267" sldId="728"/>
        </pc:sldMkLst>
        <pc:spChg chg="del">
          <ac:chgData name="Suzana Gonzaga da Veiga" userId="S::suzana@br-petrobras.com.br::4b7d51ec-c2fb-48db-9c6f-13fb9b214ed0" providerId="AD" clId="Web-{302FD441-2397-46BF-A99F-DEF61409A576}" dt="2019-10-03T21:25:26.372" v="72"/>
          <ac:spMkLst>
            <pc:docMk/>
            <pc:sldMk cId="1837394267" sldId="728"/>
            <ac:spMk id="2" creationId="{25A85297-E4F9-45EE-9625-F284C9B374DE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1:25:26.372" v="72"/>
          <ac:spMkLst>
            <pc:docMk/>
            <pc:sldMk cId="1837394267" sldId="728"/>
            <ac:spMk id="3" creationId="{14A014FC-1E48-4F1B-B918-2830BC0B9582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1:25:26.372" v="72"/>
          <ac:spMkLst>
            <pc:docMk/>
            <pc:sldMk cId="1837394267" sldId="728"/>
            <ac:spMk id="4" creationId="{1ABB5828-B034-43BC-9BAB-B00C477D511A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1:25:55.419" v="77"/>
          <ac:spMkLst>
            <pc:docMk/>
            <pc:sldMk cId="1837394267" sldId="728"/>
            <ac:spMk id="5" creationId="{4161ED4E-25DE-4F48-AD7C-2BBE44341259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2:09:52.289" v="154"/>
          <ac:spMkLst>
            <pc:docMk/>
            <pc:sldMk cId="1837394267" sldId="728"/>
            <ac:spMk id="6" creationId="{5F707044-7F70-4133-B9F8-B4CEA2E62EE5}"/>
          </ac:spMkLst>
        </pc:spChg>
        <pc:graphicFrameChg chg="add del mod modGraphic">
          <ac:chgData name="Suzana Gonzaga da Veiga" userId="S::suzana@br-petrobras.com.br::4b7d51ec-c2fb-48db-9c6f-13fb9b214ed0" providerId="AD" clId="Web-{302FD441-2397-46BF-A99F-DEF61409A576}" dt="2019-10-03T22:10:40.727" v="163"/>
          <ac:graphicFrameMkLst>
            <pc:docMk/>
            <pc:sldMk cId="1837394267" sldId="728"/>
            <ac:graphicFrameMk id="8" creationId="{7C3561D7-A168-4C78-A729-647D98F8D3F4}"/>
          </ac:graphicFrameMkLst>
        </pc:graphicFrameChg>
        <pc:cxnChg chg="add del">
          <ac:chgData name="Suzana Gonzaga da Veiga" userId="S::suzana@br-petrobras.com.br::4b7d51ec-c2fb-48db-9c6f-13fb9b214ed0" providerId="AD" clId="Web-{302FD441-2397-46BF-A99F-DEF61409A576}" dt="2019-10-03T22:10:20.055" v="159"/>
          <ac:cxnSpMkLst>
            <pc:docMk/>
            <pc:sldMk cId="1837394267" sldId="728"/>
            <ac:cxnSpMk id="10" creationId="{E12350F3-DB83-413A-980B-1CEB92498664}"/>
          </ac:cxnSpMkLst>
        </pc:cxnChg>
        <pc:cxnChg chg="add del">
          <ac:chgData name="Suzana Gonzaga da Veiga" userId="S::suzana@br-petrobras.com.br::4b7d51ec-c2fb-48db-9c6f-13fb9b214ed0" providerId="AD" clId="Web-{302FD441-2397-46BF-A99F-DEF61409A576}" dt="2019-10-03T22:10:22.899" v="161"/>
          <ac:cxnSpMkLst>
            <pc:docMk/>
            <pc:sldMk cId="1837394267" sldId="728"/>
            <ac:cxnSpMk id="11" creationId="{22F6364A-B358-4BEE-B158-0734D2C938D4}"/>
          </ac:cxnSpMkLst>
        </pc:cxnChg>
        <pc:cxnChg chg="add">
          <ac:chgData name="Suzana Gonzaga da Veiga" userId="S::suzana@br-petrobras.com.br::4b7d51ec-c2fb-48db-9c6f-13fb9b214ed0" providerId="AD" clId="Web-{302FD441-2397-46BF-A99F-DEF61409A576}" dt="2019-10-03T22:10:23.070" v="162"/>
          <ac:cxnSpMkLst>
            <pc:docMk/>
            <pc:sldMk cId="1837394267" sldId="728"/>
            <ac:cxnSpMk id="12" creationId="{E12350F3-DB83-413A-980B-1CEB92498664}"/>
          </ac:cxnSpMkLst>
        </pc:cxnChg>
        <pc:cxnChg chg="add del">
          <ac:chgData name="Suzana Gonzaga da Veiga" userId="S::suzana@br-petrobras.com.br::4b7d51ec-c2fb-48db-9c6f-13fb9b214ed0" providerId="AD" clId="Web-{302FD441-2397-46BF-A99F-DEF61409A576}" dt="2019-10-03T22:10:17.383" v="157"/>
          <ac:cxnSpMkLst>
            <pc:docMk/>
            <pc:sldMk cId="1837394267" sldId="728"/>
            <ac:cxnSpMk id="13" creationId="{E12350F3-DB83-413A-980B-1CEB92498664}"/>
          </ac:cxnSpMkLst>
        </pc:cxnChg>
      </pc:sldChg>
      <pc:sldChg chg="delSp modSp add del replId">
        <pc:chgData name="Suzana Gonzaga da Veiga" userId="S::suzana@br-petrobras.com.br::4b7d51ec-c2fb-48db-9c6f-13fb9b214ed0" providerId="AD" clId="Web-{302FD441-2397-46BF-A99F-DEF61409A576}" dt="2019-10-03T22:20:50.182" v="264"/>
        <pc:sldMkLst>
          <pc:docMk/>
          <pc:sldMk cId="2603057752" sldId="728"/>
        </pc:sldMkLst>
        <pc:spChg chg="del">
          <ac:chgData name="Suzana Gonzaga da Veiga" userId="S::suzana@br-petrobras.com.br::4b7d51ec-c2fb-48db-9c6f-13fb9b214ed0" providerId="AD" clId="Web-{302FD441-2397-46BF-A99F-DEF61409A576}" dt="2019-10-03T22:20:44.010" v="263"/>
          <ac:spMkLst>
            <pc:docMk/>
            <pc:sldMk cId="2603057752" sldId="728"/>
            <ac:spMk id="9" creationId="{9E424FBC-A4D1-4925-9500-BDB7DA9FC577}"/>
          </ac:spMkLst>
        </pc:spChg>
        <pc:spChg chg="mod">
          <ac:chgData name="Suzana Gonzaga da Veiga" userId="S::suzana@br-petrobras.com.br::4b7d51ec-c2fb-48db-9c6f-13fb9b214ed0" providerId="AD" clId="Web-{302FD441-2397-46BF-A99F-DEF61409A576}" dt="2019-10-03T22:20:21.979" v="259" actId="20577"/>
          <ac:spMkLst>
            <pc:docMk/>
            <pc:sldMk cId="2603057752" sldId="728"/>
            <ac:spMk id="13" creationId="{01D78B8A-DF58-42C7-98D8-FFD5C3BE0F39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20:44.010" v="262"/>
          <ac:spMkLst>
            <pc:docMk/>
            <pc:sldMk cId="2603057752" sldId="728"/>
            <ac:spMk id="14" creationId="{3FD17863-B8A0-4F6E-8580-8C558849E99A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20:44.010" v="261"/>
          <ac:spMkLst>
            <pc:docMk/>
            <pc:sldMk cId="2603057752" sldId="728"/>
            <ac:spMk id="15" creationId="{2ABC4F85-B44B-4B0D-A64D-D6B46B7E7B36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20:44.010" v="260"/>
          <ac:spMkLst>
            <pc:docMk/>
            <pc:sldMk cId="2603057752" sldId="728"/>
            <ac:spMk id="16" creationId="{5AA890F2-2EC5-48D4-9756-6E64E03B9967}"/>
          </ac:spMkLst>
        </pc:spChg>
      </pc:sldChg>
      <pc:sldChg chg="addSp delSp modSp new del mod modClrScheme chgLayout">
        <pc:chgData name="Suzana Gonzaga da Veiga" userId="S::suzana@br-petrobras.com.br::4b7d51ec-c2fb-48db-9c6f-13fb9b214ed0" providerId="AD" clId="Web-{302FD441-2397-46BF-A99F-DEF61409A576}" dt="2019-10-03T22:28:52.356" v="331"/>
        <pc:sldMkLst>
          <pc:docMk/>
          <pc:sldMk cId="3853113345" sldId="729"/>
        </pc:sldMkLst>
        <pc:spChg chg="add del mod">
          <ac:chgData name="Suzana Gonzaga da Veiga" userId="S::suzana@br-petrobras.com.br::4b7d51ec-c2fb-48db-9c6f-13fb9b214ed0" providerId="AD" clId="Web-{302FD441-2397-46BF-A99F-DEF61409A576}" dt="2019-10-03T22:27:43.340" v="327"/>
          <ac:spMkLst>
            <pc:docMk/>
            <pc:sldMk cId="3853113345" sldId="729"/>
            <ac:spMk id="2" creationId="{954B3502-D2FC-4092-AA0F-8CE8638454F3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2:27:03.824" v="325"/>
          <ac:spMkLst>
            <pc:docMk/>
            <pc:sldMk cId="3853113345" sldId="729"/>
            <ac:spMk id="3" creationId="{EE82D113-2D11-45A0-A1F1-25F5335D1EE1}"/>
          </ac:spMkLst>
        </pc:spChg>
        <pc:graphicFrameChg chg="add mod ord modGraphic">
          <ac:chgData name="Suzana Gonzaga da Veiga" userId="S::suzana@br-petrobras.com.br::4b7d51ec-c2fb-48db-9c6f-13fb9b214ed0" providerId="AD" clId="Web-{302FD441-2397-46BF-A99F-DEF61409A576}" dt="2019-10-03T22:27:47.840" v="328" actId="1076"/>
          <ac:graphicFrameMkLst>
            <pc:docMk/>
            <pc:sldMk cId="3853113345" sldId="729"/>
            <ac:graphicFrameMk id="4" creationId="{3A45D8B8-0E0D-4120-AC92-06DB5436AB30}"/>
          </ac:graphicFrameMkLst>
        </pc:graphicFrameChg>
      </pc:sldChg>
    </pc:docChg>
  </pc:docChgLst>
  <pc:docChgLst>
    <pc:chgData name="Viviane Antonia Correa Thome" userId="S::vivianec@br-petrobras.com.br::b9a153ef-313d-4389-b52e-cbd595dfd54a" providerId="AD" clId="Web-{D55DCF77-3D53-4D69-8DCE-D7795A93F8FE}"/>
    <pc:docChg chg="modSld">
      <pc:chgData name="Viviane Antonia Correa Thome" userId="S::vivianec@br-petrobras.com.br::b9a153ef-313d-4389-b52e-cbd595dfd54a" providerId="AD" clId="Web-{D55DCF77-3D53-4D69-8DCE-D7795A93F8FE}" dt="2019-07-01T16:34:00.473" v="13" actId="20577"/>
      <pc:docMkLst>
        <pc:docMk/>
      </pc:docMkLst>
      <pc:sldChg chg="modSp">
        <pc:chgData name="Viviane Antonia Correa Thome" userId="S::vivianec@br-petrobras.com.br::b9a153ef-313d-4389-b52e-cbd595dfd54a" providerId="AD" clId="Web-{D55DCF77-3D53-4D69-8DCE-D7795A93F8FE}" dt="2019-07-01T16:34:00.473" v="12" actId="20577"/>
        <pc:sldMkLst>
          <pc:docMk/>
          <pc:sldMk cId="2443335996" sldId="614"/>
        </pc:sldMkLst>
        <pc:spChg chg="mod">
          <ac:chgData name="Viviane Antonia Correa Thome" userId="S::vivianec@br-petrobras.com.br::b9a153ef-313d-4389-b52e-cbd595dfd54a" providerId="AD" clId="Web-{D55DCF77-3D53-4D69-8DCE-D7795A93F8FE}" dt="2019-07-01T16:34:00.473" v="12" actId="20577"/>
          <ac:spMkLst>
            <pc:docMk/>
            <pc:sldMk cId="2443335996" sldId="614"/>
            <ac:spMk id="25" creationId="{00000000-0000-0000-0000-000000000000}"/>
          </ac:spMkLst>
        </pc:spChg>
      </pc:sldChg>
    </pc:docChg>
  </pc:docChgLst>
  <pc:docChgLst>
    <pc:chgData name="Suzana Gonzaga da Veiga" userId="S::suzana@br-petrobras.com.br::4b7d51ec-c2fb-48db-9c6f-13fb9b214ed0" providerId="AD" clId="Web-{ACCCAE3D-FD6D-4AB0-98CE-FBA7DF7DCE66}"/>
    <pc:docChg chg="addSld modSld">
      <pc:chgData name="Suzana Gonzaga da Veiga" userId="S::suzana@br-petrobras.com.br::4b7d51ec-c2fb-48db-9c6f-13fb9b214ed0" providerId="AD" clId="Web-{ACCCAE3D-FD6D-4AB0-98CE-FBA7DF7DCE66}" dt="2019-10-03T20:27:38.967" v="327"/>
      <pc:docMkLst>
        <pc:docMk/>
      </pc:docMkLst>
      <pc:sldChg chg="addSp delSp modSp new mod modClrScheme chgLayout">
        <pc:chgData name="Suzana Gonzaga da Veiga" userId="S::suzana@br-petrobras.com.br::4b7d51ec-c2fb-48db-9c6f-13fb9b214ed0" providerId="AD" clId="Web-{ACCCAE3D-FD6D-4AB0-98CE-FBA7DF7DCE66}" dt="2019-10-03T20:27:38.967" v="327"/>
        <pc:sldMkLst>
          <pc:docMk/>
          <pc:sldMk cId="4215286545" sldId="726"/>
        </pc:sldMkLst>
        <pc:spChg chg="del mod ord">
          <ac:chgData name="Suzana Gonzaga da Veiga" userId="S::suzana@br-petrobras.com.br::4b7d51ec-c2fb-48db-9c6f-13fb9b214ed0" providerId="AD" clId="Web-{ACCCAE3D-FD6D-4AB0-98CE-FBA7DF7DCE66}" dt="2019-10-03T20:27:38.967" v="327"/>
          <ac:spMkLst>
            <pc:docMk/>
            <pc:sldMk cId="4215286545" sldId="726"/>
            <ac:spMk id="2" creationId="{29AF7A89-1F7A-421A-82A6-384ACBD31361}"/>
          </ac:spMkLst>
        </pc:spChg>
        <pc:spChg chg="add del mod ord">
          <ac:chgData name="Suzana Gonzaga da Veiga" userId="S::suzana@br-petrobras.com.br::4b7d51ec-c2fb-48db-9c6f-13fb9b214ed0" providerId="AD" clId="Web-{ACCCAE3D-FD6D-4AB0-98CE-FBA7DF7DCE66}" dt="2019-10-03T20:16:44.824" v="5"/>
          <ac:spMkLst>
            <pc:docMk/>
            <pc:sldMk cId="4215286545" sldId="726"/>
            <ac:spMk id="3" creationId="{11BC10D0-E45D-4F97-8070-F463DE2A5C54}"/>
          </ac:spMkLst>
        </pc:spChg>
        <pc:spChg chg="add mod ord">
          <ac:chgData name="Suzana Gonzaga da Veiga" userId="S::suzana@br-petrobras.com.br::4b7d51ec-c2fb-48db-9c6f-13fb9b214ed0" providerId="AD" clId="Web-{ACCCAE3D-FD6D-4AB0-98CE-FBA7DF7DCE66}" dt="2019-10-03T20:15:58.417" v="1"/>
          <ac:spMkLst>
            <pc:docMk/>
            <pc:sldMk cId="4215286545" sldId="726"/>
            <ac:spMk id="4" creationId="{5FEF8EC8-3786-475E-BBDA-081DC65C3386}"/>
          </ac:spMkLst>
        </pc:spChg>
        <pc:spChg chg="add mod">
          <ac:chgData name="Suzana Gonzaga da Veiga" userId="S::suzana@br-petrobras.com.br::4b7d51ec-c2fb-48db-9c6f-13fb9b214ed0" providerId="AD" clId="Web-{ACCCAE3D-FD6D-4AB0-98CE-FBA7DF7DCE66}" dt="2019-10-03T20:27:33.717" v="326" actId="20577"/>
          <ac:spMkLst>
            <pc:docMk/>
            <pc:sldMk cId="4215286545" sldId="726"/>
            <ac:spMk id="13" creationId="{01D78B8A-DF58-42C7-98D8-FFD5C3BE0F39}"/>
          </ac:spMkLst>
        </pc:spChg>
        <pc:graphicFrameChg chg="add del mod ord modGraphic">
          <ac:chgData name="Suzana Gonzaga da Veiga" userId="S::suzana@br-petrobras.com.br::4b7d51ec-c2fb-48db-9c6f-13fb9b214ed0" providerId="AD" clId="Web-{ACCCAE3D-FD6D-4AB0-98CE-FBA7DF7DCE66}" dt="2019-10-03T20:16:22.933" v="3"/>
          <ac:graphicFrameMkLst>
            <pc:docMk/>
            <pc:sldMk cId="4215286545" sldId="726"/>
            <ac:graphicFrameMk id="5" creationId="{E3799D41-E9B2-4517-931B-C9E3D9695FDD}"/>
          </ac:graphicFrameMkLst>
        </pc:graphicFrameChg>
      </pc:sldChg>
    </pc:docChg>
  </pc:docChgLst>
  <pc:docChgLst>
    <pc:chgData name="Suzana Gonzaga da Veiga" userId="S::suzana@br-petrobras.com.br::4b7d51ec-c2fb-48db-9c6f-13fb9b214ed0" providerId="AD" clId="Web-{1BB760F7-8AF2-4E5A-A083-BEF0E4EB0C30}"/>
    <pc:docChg chg="addSld delSld modSld">
      <pc:chgData name="Suzana Gonzaga da Veiga" userId="S::suzana@br-petrobras.com.br::4b7d51ec-c2fb-48db-9c6f-13fb9b214ed0" providerId="AD" clId="Web-{1BB760F7-8AF2-4E5A-A083-BEF0E4EB0C30}" dt="2019-10-04T12:31:08.287" v="368"/>
      <pc:docMkLst>
        <pc:docMk/>
      </pc:docMkLst>
      <pc:sldChg chg="delSp del">
        <pc:chgData name="Suzana Gonzaga da Veiga" userId="S::suzana@br-petrobras.com.br::4b7d51ec-c2fb-48db-9c6f-13fb9b214ed0" providerId="AD" clId="Web-{1BB760F7-8AF2-4E5A-A083-BEF0E4EB0C30}" dt="2019-10-04T12:31:07.350" v="367"/>
        <pc:sldMkLst>
          <pc:docMk/>
          <pc:sldMk cId="4215286545" sldId="726"/>
        </pc:sldMkLst>
        <pc:spChg chg="del">
          <ac:chgData name="Suzana Gonzaga da Veiga" userId="S::suzana@br-petrobras.com.br::4b7d51ec-c2fb-48db-9c6f-13fb9b214ed0" providerId="AD" clId="Web-{1BB760F7-8AF2-4E5A-A083-BEF0E4EB0C30}" dt="2019-10-04T12:13:28.919" v="0"/>
          <ac:spMkLst>
            <pc:docMk/>
            <pc:sldMk cId="4215286545" sldId="726"/>
            <ac:spMk id="3" creationId="{37C0A1D1-A305-4567-B198-A65FB2E75795}"/>
          </ac:spMkLst>
        </pc:spChg>
      </pc:sldChg>
      <pc:sldChg chg="del">
        <pc:chgData name="Suzana Gonzaga da Veiga" userId="S::suzana@br-petrobras.com.br::4b7d51ec-c2fb-48db-9c6f-13fb9b214ed0" providerId="AD" clId="Web-{1BB760F7-8AF2-4E5A-A083-BEF0E4EB0C30}" dt="2019-10-04T12:31:08.287" v="368"/>
        <pc:sldMkLst>
          <pc:docMk/>
          <pc:sldMk cId="920938819" sldId="728"/>
        </pc:sldMkLst>
      </pc:sldChg>
      <pc:sldChg chg="addSp delSp modSp new mod modClrScheme chgLayout">
        <pc:chgData name="Suzana Gonzaga da Veiga" userId="S::suzana@br-petrobras.com.br::4b7d51ec-c2fb-48db-9c6f-13fb9b214ed0" providerId="AD" clId="Web-{1BB760F7-8AF2-4E5A-A083-BEF0E4EB0C30}" dt="2019-10-04T12:31:05.646" v="366" actId="14100"/>
        <pc:sldMkLst>
          <pc:docMk/>
          <pc:sldMk cId="953582003" sldId="729"/>
        </pc:sldMkLst>
        <pc:spChg chg="del">
          <ac:chgData name="Suzana Gonzaga da Veiga" userId="S::suzana@br-petrobras.com.br::4b7d51ec-c2fb-48db-9c6f-13fb9b214ed0" providerId="AD" clId="Web-{1BB760F7-8AF2-4E5A-A083-BEF0E4EB0C30}" dt="2019-10-04T12:14:04.951" v="2"/>
          <ac:spMkLst>
            <pc:docMk/>
            <pc:sldMk cId="953582003" sldId="729"/>
            <ac:spMk id="2" creationId="{FBB5DF5D-2AB0-4D6A-9A14-B60AC3DE1868}"/>
          </ac:spMkLst>
        </pc:spChg>
        <pc:spChg chg="del">
          <ac:chgData name="Suzana Gonzaga da Veiga" userId="S::suzana@br-petrobras.com.br::4b7d51ec-c2fb-48db-9c6f-13fb9b214ed0" providerId="AD" clId="Web-{1BB760F7-8AF2-4E5A-A083-BEF0E4EB0C30}" dt="2019-10-04T12:14:04.951" v="2"/>
          <ac:spMkLst>
            <pc:docMk/>
            <pc:sldMk cId="953582003" sldId="729"/>
            <ac:spMk id="3" creationId="{5604941F-4CDF-4BA7-8366-364E9E96337E}"/>
          </ac:spMkLst>
        </pc:spChg>
        <pc:spChg chg="add mod">
          <ac:chgData name="Suzana Gonzaga da Veiga" userId="S::suzana@br-petrobras.com.br::4b7d51ec-c2fb-48db-9c6f-13fb9b214ed0" providerId="AD" clId="Web-{1BB760F7-8AF2-4E5A-A083-BEF0E4EB0C30}" dt="2019-10-04T12:31:05.646" v="366" actId="14100"/>
          <ac:spMkLst>
            <pc:docMk/>
            <pc:sldMk cId="953582003" sldId="729"/>
            <ac:spMk id="4" creationId="{1AFDCB3F-5554-44F2-8760-2E8186001FE6}"/>
          </ac:spMkLst>
        </pc:spChg>
        <pc:spChg chg="add mod">
          <ac:chgData name="Suzana Gonzaga da Veiga" userId="S::suzana@br-petrobras.com.br::4b7d51ec-c2fb-48db-9c6f-13fb9b214ed0" providerId="AD" clId="Web-{1BB760F7-8AF2-4E5A-A083-BEF0E4EB0C30}" dt="2019-10-04T12:30:59.021" v="364" actId="1076"/>
          <ac:spMkLst>
            <pc:docMk/>
            <pc:sldMk cId="953582003" sldId="729"/>
            <ac:spMk id="5" creationId="{0443CBC9-C3F3-468C-A3EB-3B1083D246CB}"/>
          </ac:spMkLst>
        </pc:spChg>
      </pc:sldChg>
    </pc:docChg>
  </pc:docChgLst>
  <pc:docChgLst>
    <pc:chgData name="Eline Morais Santana" userId="S::elinesantana@br-petrobras.com.br::9b09ed21-70c5-4f55-9d7b-516cd944abbd" providerId="AD" clId="Web-{B7DE9452-DA08-45F8-9626-B3DCB7E7EFF5}"/>
    <pc:docChg chg="addSld delSld modSld">
      <pc:chgData name="Eline Morais Santana" userId="S::elinesantana@br-petrobras.com.br::9b09ed21-70c5-4f55-9d7b-516cd944abbd" providerId="AD" clId="Web-{B7DE9452-DA08-45F8-9626-B3DCB7E7EFF5}" dt="2019-10-03T20:48:23.983" v="398" actId="14100"/>
      <pc:docMkLst>
        <pc:docMk/>
      </pc:docMkLst>
      <pc:sldChg chg="del">
        <pc:chgData name="Eline Morais Santana" userId="S::elinesantana@br-petrobras.com.br::9b09ed21-70c5-4f55-9d7b-516cd944abbd" providerId="AD" clId="Web-{B7DE9452-DA08-45F8-9626-B3DCB7E7EFF5}" dt="2019-10-03T20:10:27.178" v="0"/>
        <pc:sldMkLst>
          <pc:docMk/>
          <pc:sldMk cId="416670473" sldId="701"/>
        </pc:sldMkLst>
      </pc:sldChg>
      <pc:sldChg chg="del">
        <pc:chgData name="Eline Morais Santana" userId="S::elinesantana@br-petrobras.com.br::9b09ed21-70c5-4f55-9d7b-516cd944abbd" providerId="AD" clId="Web-{B7DE9452-DA08-45F8-9626-B3DCB7E7EFF5}" dt="2019-10-03T20:16:40.945" v="2"/>
        <pc:sldMkLst>
          <pc:docMk/>
          <pc:sldMk cId="3295356145" sldId="710"/>
        </pc:sldMkLst>
      </pc:sldChg>
      <pc:sldChg chg="del">
        <pc:chgData name="Eline Morais Santana" userId="S::elinesantana@br-petrobras.com.br::9b09ed21-70c5-4f55-9d7b-516cd944abbd" providerId="AD" clId="Web-{B7DE9452-DA08-45F8-9626-B3DCB7E7EFF5}" dt="2019-10-03T20:16:38.789" v="1"/>
        <pc:sldMkLst>
          <pc:docMk/>
          <pc:sldMk cId="156347574" sldId="720"/>
        </pc:sldMkLst>
      </pc:sldChg>
      <pc:sldChg chg="del">
        <pc:chgData name="Eline Morais Santana" userId="S::elinesantana@br-petrobras.com.br::9b09ed21-70c5-4f55-9d7b-516cd944abbd" providerId="AD" clId="Web-{B7DE9452-DA08-45F8-9626-B3DCB7E7EFF5}" dt="2019-10-03T20:16:44.976" v="3"/>
        <pc:sldMkLst>
          <pc:docMk/>
          <pc:sldMk cId="2924827187" sldId="724"/>
        </pc:sldMkLst>
      </pc:sldChg>
      <pc:sldChg chg="addSp delSp modSp add replId">
        <pc:chgData name="Eline Morais Santana" userId="S::elinesantana@br-petrobras.com.br::9b09ed21-70c5-4f55-9d7b-516cd944abbd" providerId="AD" clId="Web-{B7DE9452-DA08-45F8-9626-B3DCB7E7EFF5}" dt="2019-10-03T20:48:23.983" v="398" actId="14100"/>
        <pc:sldMkLst>
          <pc:docMk/>
          <pc:sldMk cId="465290428" sldId="727"/>
        </pc:sldMkLst>
        <pc:spChg chg="del">
          <ac:chgData name="Eline Morais Santana" userId="S::elinesantana@br-petrobras.com.br::9b09ed21-70c5-4f55-9d7b-516cd944abbd" providerId="AD" clId="Web-{B7DE9452-DA08-45F8-9626-B3DCB7E7EFF5}" dt="2019-10-03T20:17:05.102" v="19"/>
          <ac:spMkLst>
            <pc:docMk/>
            <pc:sldMk cId="465290428" sldId="727"/>
            <ac:spMk id="12" creationId="{00000000-0000-0000-0000-000000000000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8:18.421" v="396" actId="14100"/>
          <ac:spMkLst>
            <pc:docMk/>
            <pc:sldMk cId="465290428" sldId="727"/>
            <ac:spMk id="18" creationId="{8EA6917B-4839-4C23-B6A9-75DB7D54744B}"/>
          </ac:spMkLst>
        </pc:spChg>
        <pc:spChg chg="add del mod">
          <ac:chgData name="Eline Morais Santana" userId="S::elinesantana@br-petrobras.com.br::9b09ed21-70c5-4f55-9d7b-516cd944abbd" providerId="AD" clId="Web-{B7DE9452-DA08-45F8-9626-B3DCB7E7EFF5}" dt="2019-10-03T20:48:00.280" v="394"/>
          <ac:spMkLst>
            <pc:docMk/>
            <pc:sldMk cId="465290428" sldId="727"/>
            <ac:spMk id="19" creationId="{57C3C5EB-11BC-4BAB-9813-96361C5CFA17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7:52.420" v="391" actId="1076"/>
          <ac:spMkLst>
            <pc:docMk/>
            <pc:sldMk cId="465290428" sldId="727"/>
            <ac:spMk id="20" creationId="{A638A1CC-770C-4051-A9A9-E4E29699E897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3:44.295" v="314" actId="20577"/>
          <ac:spMkLst>
            <pc:docMk/>
            <pc:sldMk cId="465290428" sldId="727"/>
            <ac:spMk id="21" creationId="{7BB37A43-DBC6-4F7F-9D8B-7C74A319B396}"/>
          </ac:spMkLst>
        </pc:spChg>
        <pc:spChg chg="del">
          <ac:chgData name="Eline Morais Santana" userId="S::elinesantana@br-petrobras.com.br::9b09ed21-70c5-4f55-9d7b-516cd944abbd" providerId="AD" clId="Web-{B7DE9452-DA08-45F8-9626-B3DCB7E7EFF5}" dt="2019-10-03T20:17:22.664" v="26"/>
          <ac:spMkLst>
            <pc:docMk/>
            <pc:sldMk cId="465290428" sldId="727"/>
            <ac:spMk id="23" creationId="{00000000-0000-0000-0000-000000000000}"/>
          </ac:spMkLst>
        </pc:spChg>
        <pc:spChg chg="add del mod">
          <ac:chgData name="Eline Morais Santana" userId="S::elinesantana@br-petrobras.com.br::9b09ed21-70c5-4f55-9d7b-516cd944abbd" providerId="AD" clId="Web-{B7DE9452-DA08-45F8-9626-B3DCB7E7EFF5}" dt="2019-10-03T20:36:10.355" v="88"/>
          <ac:spMkLst>
            <pc:docMk/>
            <pc:sldMk cId="465290428" sldId="727"/>
            <ac:spMk id="76" creationId="{7CD75A5D-0A44-42F4-8C4B-F9EF45DD2AED}"/>
          </ac:spMkLst>
        </pc:spChg>
        <pc:spChg chg="add del">
          <ac:chgData name="Eline Morais Santana" userId="S::elinesantana@br-petrobras.com.br::9b09ed21-70c5-4f55-9d7b-516cd944abbd" providerId="AD" clId="Web-{B7DE9452-DA08-45F8-9626-B3DCB7E7EFF5}" dt="2019-10-03T20:35:42.402" v="86"/>
          <ac:spMkLst>
            <pc:docMk/>
            <pc:sldMk cId="465290428" sldId="727"/>
            <ac:spMk id="77" creationId="{0CD799DE-E87D-413E-AE81-EE7E574BEE67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7:52.436" v="392" actId="1076"/>
          <ac:spMkLst>
            <pc:docMk/>
            <pc:sldMk cId="465290428" sldId="727"/>
            <ac:spMk id="80" creationId="{FC577205-ECB4-4CD8-9152-F8B2BA7D885B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39:51.966" v="181" actId="20577"/>
          <ac:spMkLst>
            <pc:docMk/>
            <pc:sldMk cId="465290428" sldId="727"/>
            <ac:spMk id="81" creationId="{82369273-1166-4BFE-9619-4559F2D051ED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3:56.732" v="320" actId="20577"/>
          <ac:spMkLst>
            <pc:docMk/>
            <pc:sldMk cId="465290428" sldId="727"/>
            <ac:spMk id="82" creationId="{6A531039-1D37-4C04-A435-2BC42C41E15A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4:05.951" v="324" actId="1076"/>
          <ac:spMkLst>
            <pc:docMk/>
            <pc:sldMk cId="465290428" sldId="727"/>
            <ac:spMk id="83" creationId="{16D93979-41EC-41AA-BD65-A83729F7BEBE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7:09.873" v="364" actId="20577"/>
          <ac:spMkLst>
            <pc:docMk/>
            <pc:sldMk cId="465290428" sldId="727"/>
            <ac:spMk id="84" creationId="{16E2961E-506F-41DE-A66D-292EAA48FDB0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8:23.983" v="398" actId="14100"/>
          <ac:spMkLst>
            <pc:docMk/>
            <pc:sldMk cId="465290428" sldId="727"/>
            <ac:spMk id="90" creationId="{15CF2272-68A3-4D7B-83C8-5157F1545EA1}"/>
          </ac:spMkLst>
        </pc:spChg>
        <pc:picChg chg="add mod">
          <ac:chgData name="Eline Morais Santana" userId="S::elinesantana@br-petrobras.com.br::9b09ed21-70c5-4f55-9d7b-516cd944abbd" providerId="AD" clId="Web-{B7DE9452-DA08-45F8-9626-B3DCB7E7EFF5}" dt="2019-10-03T20:47:56.030" v="393" actId="1076"/>
          <ac:picMkLst>
            <pc:docMk/>
            <pc:sldMk cId="465290428" sldId="727"/>
            <ac:picMk id="2" creationId="{D079D9D1-58B7-4C0C-9B6E-5A13CDAC7F9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28"/>
          <ac:picMkLst>
            <pc:docMk/>
            <pc:sldMk cId="465290428" sldId="727"/>
            <ac:picMk id="3" creationId="{A7348DA8-B909-41FD-A278-AE49346945C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60"/>
          <ac:picMkLst>
            <pc:docMk/>
            <pc:sldMk cId="465290428" sldId="727"/>
            <ac:picMk id="5" creationId="{D7938C52-584F-46FA-B8CB-46E1A76BB8FF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3"/>
          <ac:picMkLst>
            <pc:docMk/>
            <pc:sldMk cId="465290428" sldId="727"/>
            <ac:picMk id="7" creationId="{F97678B4-D802-47D0-A18D-8BBEC381029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1"/>
          <ac:picMkLst>
            <pc:docMk/>
            <pc:sldMk cId="465290428" sldId="727"/>
            <ac:picMk id="10" creationId="{7287E45B-DE83-4B48-A5D0-536D7648A85A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0"/>
          <ac:picMkLst>
            <pc:docMk/>
            <pc:sldMk cId="465290428" sldId="727"/>
            <ac:picMk id="14" creationId="{00000000-0000-0000-0000-00000000000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27"/>
          <ac:picMkLst>
            <pc:docMk/>
            <pc:sldMk cId="465290428" sldId="727"/>
            <ac:picMk id="22" creationId="{00000000-0000-0000-0000-00000000000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62"/>
          <ac:picMkLst>
            <pc:docMk/>
            <pc:sldMk cId="465290428" sldId="727"/>
            <ac:picMk id="27" creationId="{00000000-0000-0000-0000-00000000000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48"/>
          <ac:picMkLst>
            <pc:docMk/>
            <pc:sldMk cId="465290428" sldId="727"/>
            <ac:picMk id="28" creationId="{00000000-0000-0000-0000-00000000000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8"/>
          <ac:picMkLst>
            <pc:docMk/>
            <pc:sldMk cId="465290428" sldId="727"/>
            <ac:picMk id="59" creationId="{56EA04F5-C829-439D-A80C-34AE445AC1B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49"/>
          <ac:picMkLst>
            <pc:docMk/>
            <pc:sldMk cId="465290428" sldId="727"/>
            <ac:picMk id="69" creationId="{56EA04F5-C829-439D-A80C-34AE445AC1B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9.633" v="63"/>
          <ac:picMkLst>
            <pc:docMk/>
            <pc:sldMk cId="465290428" sldId="727"/>
            <ac:picMk id="79" creationId="{56EA04F5-C829-439D-A80C-34AE445AC1B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23"/>
          <ac:picMkLst>
            <pc:docMk/>
            <pc:sldMk cId="465290428" sldId="727"/>
            <ac:picMk id="86" creationId="{4975D75D-9268-4D9C-8701-16655F5CAD1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9.804" v="20"/>
          <ac:picMkLst>
            <pc:docMk/>
            <pc:sldMk cId="465290428" sldId="727"/>
            <ac:picMk id="87" creationId="{6A9230AC-A3FD-485C-A592-FA5771EF127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1:12.290" v="69"/>
          <ac:picMkLst>
            <pc:docMk/>
            <pc:sldMk cId="465290428" sldId="727"/>
            <ac:picMk id="17422" creationId="{B3E749F2-4292-4853-960C-9113E51ECAD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8"/>
          <ac:picMkLst>
            <pc:docMk/>
            <pc:sldMk cId="465290428" sldId="727"/>
            <ac:picMk id="17424" creationId="{8AC1E45A-588D-438D-A507-04EC26D89361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7"/>
          <ac:picMkLst>
            <pc:docMk/>
            <pc:sldMk cId="465290428" sldId="727"/>
            <ac:picMk id="17425" creationId="{3FB81B2C-C30D-4D79-A3C4-BBA2D5E5358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16.617" v="22"/>
          <ac:picMkLst>
            <pc:docMk/>
            <pc:sldMk cId="465290428" sldId="727"/>
            <ac:picMk id="17427" creationId="{4725AF6E-1CC2-40AD-81AF-3822A5F8B0E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1:10.899" v="68"/>
          <ac:picMkLst>
            <pc:docMk/>
            <pc:sldMk cId="465290428" sldId="727"/>
            <ac:picMk id="17428" creationId="{91B81182-423A-4FCE-BC6B-BAA8809B479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6"/>
          <ac:picMkLst>
            <pc:docMk/>
            <pc:sldMk cId="465290428" sldId="727"/>
            <ac:picMk id="17431" creationId="{A7FB7877-B437-4134-B486-49BFA20F5CC7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16.617" v="21"/>
          <ac:picMkLst>
            <pc:docMk/>
            <pc:sldMk cId="465290428" sldId="727"/>
            <ac:picMk id="17432" creationId="{84874097-4712-40FD-8A16-C38038069F8A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5"/>
          <ac:picMkLst>
            <pc:docMk/>
            <pc:sldMk cId="465290428" sldId="727"/>
            <ac:picMk id="17433" creationId="{A339A0F1-3C7E-47BB-BDB2-93F57846FA6C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1:10.040" v="67"/>
          <ac:picMkLst>
            <pc:docMk/>
            <pc:sldMk cId="465290428" sldId="727"/>
            <ac:picMk id="17434" creationId="{B7AA0429-7385-4B4F-ACA6-497A99261AB3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4"/>
          <ac:picMkLst>
            <pc:docMk/>
            <pc:sldMk cId="465290428" sldId="727"/>
            <ac:picMk id="17435" creationId="{6A9230AC-A3FD-485C-A592-FA5771EF127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1:06.086" v="65"/>
          <ac:picMkLst>
            <pc:docMk/>
            <pc:sldMk cId="465290428" sldId="727"/>
            <ac:picMk id="17436" creationId="{F10124C0-97B0-4D67-B935-772974314262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1:07.665" v="66"/>
          <ac:picMkLst>
            <pc:docMk/>
            <pc:sldMk cId="465290428" sldId="727"/>
            <ac:picMk id="17438" creationId="{058056E9-4C25-42E1-B397-1F825A4F04A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3"/>
          <ac:picMkLst>
            <pc:docMk/>
            <pc:sldMk cId="465290428" sldId="727"/>
            <ac:picMk id="17439" creationId="{1FFF2536-A62F-4AE6-BA2E-B0AFE784EC43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2"/>
          <ac:picMkLst>
            <pc:docMk/>
            <pc:sldMk cId="465290428" sldId="727"/>
            <ac:picMk id="17441" creationId="{76079905-AA4C-4E42-BE36-437B8B9EF10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1"/>
          <ac:picMkLst>
            <pc:docMk/>
            <pc:sldMk cId="465290428" sldId="727"/>
            <ac:picMk id="17443" creationId="{56EA04F5-C829-439D-A80C-34AE445AC1B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0"/>
          <ac:picMkLst>
            <pc:docMk/>
            <pc:sldMk cId="465290428" sldId="727"/>
            <ac:picMk id="17444" creationId="{E5C97DD9-8520-435F-AFF5-57688316B1E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9"/>
          <ac:picMkLst>
            <pc:docMk/>
            <pc:sldMk cId="465290428" sldId="727"/>
            <ac:picMk id="17447" creationId="{A7B90A3A-F5E2-461D-9C18-23DD7CD16C84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6.039" v="43"/>
          <ac:picMkLst>
            <pc:docMk/>
            <pc:sldMk cId="465290428" sldId="727"/>
            <ac:picMk id="17449" creationId="{AC7A3784-328D-4F1A-BAD0-28CACB2C1FAD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40"/>
          <ac:picMkLst>
            <pc:docMk/>
            <pc:sldMk cId="465290428" sldId="727"/>
            <ac:picMk id="17451" creationId="{67BEC25A-F056-435A-9C61-0BF88426A64E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9"/>
          <ac:picMkLst>
            <pc:docMk/>
            <pc:sldMk cId="465290428" sldId="727"/>
            <ac:picMk id="17453" creationId="{0C7A31FE-582E-4BFA-9D25-9D9BAD4D90AC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8"/>
          <ac:picMkLst>
            <pc:docMk/>
            <pc:sldMk cId="465290428" sldId="727"/>
            <ac:picMk id="17455" creationId="{8A01D86A-61FF-4A4B-9916-82848FE4DCB7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7"/>
          <ac:picMkLst>
            <pc:docMk/>
            <pc:sldMk cId="465290428" sldId="727"/>
            <ac:picMk id="17457" creationId="{4530B22A-961C-45AD-A49E-073AB6E3854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6"/>
          <ac:picMkLst>
            <pc:docMk/>
            <pc:sldMk cId="465290428" sldId="727"/>
            <ac:picMk id="17459" creationId="{AA5D648A-9F81-4B32-9266-B91D421B8C66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5"/>
          <ac:picMkLst>
            <pc:docMk/>
            <pc:sldMk cId="465290428" sldId="727"/>
            <ac:picMk id="17461" creationId="{AD255572-5935-4A95-B44C-A3C915CA4C7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6.039" v="42"/>
          <ac:picMkLst>
            <pc:docMk/>
            <pc:sldMk cId="465290428" sldId="727"/>
            <ac:picMk id="17463" creationId="{C4514DA7-9EA4-4BAB-BC30-34D3A9375267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4"/>
          <ac:picMkLst>
            <pc:docMk/>
            <pc:sldMk cId="465290428" sldId="727"/>
            <ac:picMk id="17465" creationId="{28C955FA-4E08-446F-A929-1B65EE51737F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3"/>
          <ac:picMkLst>
            <pc:docMk/>
            <pc:sldMk cId="465290428" sldId="727"/>
            <ac:picMk id="17467" creationId="{657A6246-E063-4C05-BBA9-D38421F17E73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2"/>
          <ac:picMkLst>
            <pc:docMk/>
            <pc:sldMk cId="465290428" sldId="727"/>
            <ac:picMk id="17469" creationId="{4975D75D-9268-4D9C-8701-16655F5CAD1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6.023" v="41"/>
          <ac:picMkLst>
            <pc:docMk/>
            <pc:sldMk cId="465290428" sldId="727"/>
            <ac:picMk id="17471" creationId="{187F6D2B-2DD0-494C-9C36-FF10A31067CE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1"/>
          <ac:picMkLst>
            <pc:docMk/>
            <pc:sldMk cId="465290428" sldId="727"/>
            <ac:picMk id="17473" creationId="{B661552C-B08A-4662-B0F9-A03B30CD4858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0"/>
          <ac:picMkLst>
            <pc:docMk/>
            <pc:sldMk cId="465290428" sldId="727"/>
            <ac:picMk id="17475" creationId="{41C98046-E87A-4A1B-B4BF-C68C9E57DE1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29"/>
          <ac:picMkLst>
            <pc:docMk/>
            <pc:sldMk cId="465290428" sldId="727"/>
            <ac:picMk id="17477" creationId="{3A84D0A7-B273-4A2D-B516-608230A6735E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7.820" v="44"/>
          <ac:picMkLst>
            <pc:docMk/>
            <pc:sldMk cId="465290428" sldId="727"/>
            <ac:picMk id="17479" creationId="{F9A0EC6E-9124-40DF-9C60-CFC993013BAF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9"/>
          <ac:picMkLst>
            <pc:docMk/>
            <pc:sldMk cId="465290428" sldId="727"/>
            <ac:picMk id="17481" creationId="{F9BEA721-7D72-4387-BCA7-1DB39B54127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8"/>
          <ac:picMkLst>
            <pc:docMk/>
            <pc:sldMk cId="465290428" sldId="727"/>
            <ac:picMk id="17483" creationId="{CC6B3434-F991-4E4D-9289-082B5B8CC7AC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7"/>
          <ac:picMkLst>
            <pc:docMk/>
            <pc:sldMk cId="465290428" sldId="727"/>
            <ac:picMk id="17487" creationId="{23307E61-AC0A-4D11-A8DD-A52704AE1DC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6"/>
          <ac:picMkLst>
            <pc:docMk/>
            <pc:sldMk cId="465290428" sldId="727"/>
            <ac:picMk id="17489" creationId="{FE303612-2EFA-4FA4-A2EC-7A1F010ECF7D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5"/>
          <ac:picMkLst>
            <pc:docMk/>
            <pc:sldMk cId="465290428" sldId="727"/>
            <ac:picMk id="17491" creationId="{39509A2F-5551-4014-A6C7-83C73783BA06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61"/>
          <ac:picMkLst>
            <pc:docMk/>
            <pc:sldMk cId="465290428" sldId="727"/>
            <ac:picMk id="17495" creationId="{445A44AA-7882-4A5D-BB0B-2708EF726D94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4"/>
          <ac:picMkLst>
            <pc:docMk/>
            <pc:sldMk cId="465290428" sldId="727"/>
            <ac:picMk id="17497" creationId="{EF7AA877-2037-4100-8636-EB2F68C25C60}"/>
          </ac:picMkLst>
        </pc:picChg>
        <pc:picChg chg="mod">
          <ac:chgData name="Eline Morais Santana" userId="S::elinesantana@br-petrobras.com.br::9b09ed21-70c5-4f55-9d7b-516cd944abbd" providerId="AD" clId="Web-{B7DE9452-DA08-45F8-9626-B3DCB7E7EFF5}" dt="2019-10-03T20:21:26.727" v="72" actId="1076"/>
          <ac:picMkLst>
            <pc:docMk/>
            <pc:sldMk cId="465290428" sldId="727"/>
            <ac:picMk id="17499" creationId="{63D34880-24DD-47F2-B067-106655050EF6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2"/>
          <ac:picMkLst>
            <pc:docMk/>
            <pc:sldMk cId="465290428" sldId="727"/>
            <ac:picMk id="17501" creationId="{A564D036-9986-4667-B58E-E7B0CC7EC2B6}"/>
          </ac:picMkLst>
        </pc:picChg>
        <pc:cxnChg chg="del">
          <ac:chgData name="Eline Morais Santana" userId="S::elinesantana@br-petrobras.com.br::9b09ed21-70c5-4f55-9d7b-516cd944abbd" providerId="AD" clId="Web-{B7DE9452-DA08-45F8-9626-B3DCB7E7EFF5}" dt="2019-10-03T20:17:22.664" v="25"/>
          <ac:cxnSpMkLst>
            <pc:docMk/>
            <pc:sldMk cId="465290428" sldId="727"/>
            <ac:cxnSpMk id="30" creationId="{00000000-0000-0000-0000-000000000000}"/>
          </ac:cxnSpMkLst>
        </pc:cxnChg>
        <pc:cxnChg chg="del">
          <ac:chgData name="Eline Morais Santana" userId="S::elinesantana@br-petrobras.com.br::9b09ed21-70c5-4f55-9d7b-516cd944abbd" providerId="AD" clId="Web-{B7DE9452-DA08-45F8-9626-B3DCB7E7EFF5}" dt="2019-10-03T20:17:22.664" v="24"/>
          <ac:cxnSpMkLst>
            <pc:docMk/>
            <pc:sldMk cId="465290428" sldId="727"/>
            <ac:cxnSpMk id="32" creationId="{00000000-0000-0000-0000-000000000000}"/>
          </ac:cxnSpMkLst>
        </pc:cxnChg>
        <pc:cxnChg chg="del">
          <ac:chgData name="Eline Morais Santana" userId="S::elinesantana@br-petrobras.com.br::9b09ed21-70c5-4f55-9d7b-516cd944abbd" providerId="AD" clId="Web-{B7DE9452-DA08-45F8-9626-B3DCB7E7EFF5}" dt="2019-10-03T20:21:01.258" v="64"/>
          <ac:cxnSpMkLst>
            <pc:docMk/>
            <pc:sldMk cId="465290428" sldId="727"/>
            <ac:cxnSpMk id="85" creationId="{00000000-0000-0000-0000-000000000000}"/>
          </ac:cxnSpMkLst>
        </pc:cxnChg>
        <pc:cxnChg chg="del">
          <ac:chgData name="Eline Morais Santana" userId="S::elinesantana@br-petrobras.com.br::9b09ed21-70c5-4f55-9d7b-516cd944abbd" providerId="AD" clId="Web-{B7DE9452-DA08-45F8-9626-B3DCB7E7EFF5}" dt="2019-10-03T20:17:05.102" v="7"/>
          <ac:cxnSpMkLst>
            <pc:docMk/>
            <pc:sldMk cId="465290428" sldId="727"/>
            <ac:cxnSpMk id="88" creationId="{00000000-0000-0000-0000-000000000000}"/>
          </ac:cxnSpMkLst>
        </pc:cxnChg>
        <pc:cxnChg chg="del">
          <ac:chgData name="Eline Morais Santana" userId="S::elinesantana@br-petrobras.com.br::9b09ed21-70c5-4f55-9d7b-516cd944abbd" providerId="AD" clId="Web-{B7DE9452-DA08-45F8-9626-B3DCB7E7EFF5}" dt="2019-10-03T20:17:05.102" v="6"/>
          <ac:cxnSpMkLst>
            <pc:docMk/>
            <pc:sldMk cId="465290428" sldId="727"/>
            <ac:cxnSpMk id="89" creationId="{00000000-0000-0000-0000-000000000000}"/>
          </ac:cxnSpMkLst>
        </pc:cxnChg>
      </pc:sldChg>
    </pc:docChg>
  </pc:docChgLst>
  <pc:docChgLst>
    <pc:chgData name="Eline Morais Santana" userId="S::elinesantana@br-petrobras.com.br::9b09ed21-70c5-4f55-9d7b-516cd944abbd" providerId="AD" clId="Web-{ECB6EB56-B74F-4507-8BA8-CC95302BFF8B}"/>
    <pc:docChg chg="modSld">
      <pc:chgData name="Eline Morais Santana" userId="S::elinesantana@br-petrobras.com.br::9b09ed21-70c5-4f55-9d7b-516cd944abbd" providerId="AD" clId="Web-{ECB6EB56-B74F-4507-8BA8-CC95302BFF8B}" dt="2019-10-04T01:45:46.109" v="313" actId="1076"/>
      <pc:docMkLst>
        <pc:docMk/>
      </pc:docMkLst>
      <pc:sldChg chg="modSp">
        <pc:chgData name="Eline Morais Santana" userId="S::elinesantana@br-petrobras.com.br::9b09ed21-70c5-4f55-9d7b-516cd944abbd" providerId="AD" clId="Web-{ECB6EB56-B74F-4507-8BA8-CC95302BFF8B}" dt="2019-10-04T01:45:46.109" v="313" actId="1076"/>
        <pc:sldMkLst>
          <pc:docMk/>
          <pc:sldMk cId="465290428" sldId="727"/>
        </pc:sldMkLst>
        <pc:graphicFrameChg chg="mod modGraphic">
          <ac:chgData name="Eline Morais Santana" userId="S::elinesantana@br-petrobras.com.br::9b09ed21-70c5-4f55-9d7b-516cd944abbd" providerId="AD" clId="Web-{ECB6EB56-B74F-4507-8BA8-CC95302BFF8B}" dt="2019-10-04T01:45:46.109" v="313" actId="1076"/>
          <ac:graphicFrameMkLst>
            <pc:docMk/>
            <pc:sldMk cId="465290428" sldId="727"/>
            <ac:graphicFrameMk id="19467" creationId="{89E6AFF5-5023-4D11-9674-B27DD3C9367E}"/>
          </ac:graphicFrameMkLst>
        </pc:graphicFrameChg>
      </pc:sldChg>
    </pc:docChg>
  </pc:docChgLst>
  <pc:docChgLst>
    <pc:chgData name="Eline Morais Santana" userId="S::elinesantana@br-petrobras.com.br::9b09ed21-70c5-4f55-9d7b-516cd944abbd" providerId="AD" clId="Web-{A154A59F-AF8D-453F-9BDB-3B928A039C03}"/>
    <pc:docChg chg="modSld">
      <pc:chgData name="Eline Morais Santana" userId="S::elinesantana@br-petrobras.com.br::9b09ed21-70c5-4f55-9d7b-516cd944abbd" providerId="AD" clId="Web-{A154A59F-AF8D-453F-9BDB-3B928A039C03}" dt="2019-10-04T01:34:56.450" v="189" actId="20577"/>
      <pc:docMkLst>
        <pc:docMk/>
      </pc:docMkLst>
      <pc:sldChg chg="addSp delSp modSp">
        <pc:chgData name="Eline Morais Santana" userId="S::elinesantana@br-petrobras.com.br::9b09ed21-70c5-4f55-9d7b-516cd944abbd" providerId="AD" clId="Web-{A154A59F-AF8D-453F-9BDB-3B928A039C03}" dt="2019-10-04T01:34:56.450" v="189" actId="20577"/>
        <pc:sldMkLst>
          <pc:docMk/>
          <pc:sldMk cId="465290428" sldId="727"/>
        </pc:sldMkLst>
        <pc:spChg chg="del">
          <ac:chgData name="Eline Morais Santana" userId="S::elinesantana@br-petrobras.com.br::9b09ed21-70c5-4f55-9d7b-516cd944abbd" providerId="AD" clId="Web-{A154A59F-AF8D-453F-9BDB-3B928A039C03}" dt="2019-10-04T01:32:24.575" v="160"/>
          <ac:spMkLst>
            <pc:docMk/>
            <pc:sldMk cId="465290428" sldId="727"/>
            <ac:spMk id="18" creationId="{8EA6917B-4839-4C23-B6A9-75DB7D54744B}"/>
          </ac:spMkLst>
        </pc:spChg>
        <pc:spChg chg="del mod">
          <ac:chgData name="Eline Morais Santana" userId="S::elinesantana@br-petrobras.com.br::9b09ed21-70c5-4f55-9d7b-516cd944abbd" providerId="AD" clId="Web-{A154A59F-AF8D-453F-9BDB-3B928A039C03}" dt="2019-10-04T01:32:23.950" v="155"/>
          <ac:spMkLst>
            <pc:docMk/>
            <pc:sldMk cId="465290428" sldId="727"/>
            <ac:spMk id="20" creationId="{A638A1CC-770C-4051-A9A9-E4E29699E897}"/>
          </ac:spMkLst>
        </pc:spChg>
        <pc:spChg chg="del">
          <ac:chgData name="Eline Morais Santana" userId="S::elinesantana@br-petrobras.com.br::9b09ed21-70c5-4f55-9d7b-516cd944abbd" providerId="AD" clId="Web-{A154A59F-AF8D-453F-9BDB-3B928A039C03}" dt="2019-10-04T01:32:24.169" v="157"/>
          <ac:spMkLst>
            <pc:docMk/>
            <pc:sldMk cId="465290428" sldId="727"/>
            <ac:spMk id="21" creationId="{7BB37A43-DBC6-4F7F-9D8B-7C74A319B396}"/>
          </ac:spMkLst>
        </pc:spChg>
        <pc:spChg chg="del">
          <ac:chgData name="Eline Morais Santana" userId="S::elinesantana@br-petrobras.com.br::9b09ed21-70c5-4f55-9d7b-516cd944abbd" providerId="AD" clId="Web-{A154A59F-AF8D-453F-9BDB-3B928A039C03}" dt="2019-10-04T01:32:24.965" v="163"/>
          <ac:spMkLst>
            <pc:docMk/>
            <pc:sldMk cId="465290428" sldId="727"/>
            <ac:spMk id="80" creationId="{FC577205-ECB4-4CD8-9152-F8B2BA7D885B}"/>
          </ac:spMkLst>
        </pc:spChg>
        <pc:spChg chg="del">
          <ac:chgData name="Eline Morais Santana" userId="S::elinesantana@br-petrobras.com.br::9b09ed21-70c5-4f55-9d7b-516cd944abbd" providerId="AD" clId="Web-{A154A59F-AF8D-453F-9BDB-3B928A039C03}" dt="2019-10-04T01:32:24.294" v="158"/>
          <ac:spMkLst>
            <pc:docMk/>
            <pc:sldMk cId="465290428" sldId="727"/>
            <ac:spMk id="81" creationId="{82369273-1166-4BFE-9619-4559F2D051ED}"/>
          </ac:spMkLst>
        </pc:spChg>
        <pc:spChg chg="del mod">
          <ac:chgData name="Eline Morais Santana" userId="S::elinesantana@br-petrobras.com.br::9b09ed21-70c5-4f55-9d7b-516cd944abbd" providerId="AD" clId="Web-{A154A59F-AF8D-453F-9BDB-3B928A039C03}" dt="2019-10-04T01:32:24.715" v="161"/>
          <ac:spMkLst>
            <pc:docMk/>
            <pc:sldMk cId="465290428" sldId="727"/>
            <ac:spMk id="82" creationId="{6A531039-1D37-4C04-A435-2BC42C41E15A}"/>
          </ac:spMkLst>
        </pc:spChg>
        <pc:spChg chg="del">
          <ac:chgData name="Eline Morais Santana" userId="S::elinesantana@br-petrobras.com.br::9b09ed21-70c5-4f55-9d7b-516cd944abbd" providerId="AD" clId="Web-{A154A59F-AF8D-453F-9BDB-3B928A039C03}" dt="2019-10-04T01:32:24.137" v="156"/>
          <ac:spMkLst>
            <pc:docMk/>
            <pc:sldMk cId="465290428" sldId="727"/>
            <ac:spMk id="83" creationId="{16D93979-41EC-41AA-BD65-A83729F7BEBE}"/>
          </ac:spMkLst>
        </pc:spChg>
        <pc:spChg chg="del mod">
          <ac:chgData name="Eline Morais Santana" userId="S::elinesantana@br-petrobras.com.br::9b09ed21-70c5-4f55-9d7b-516cd944abbd" providerId="AD" clId="Web-{A154A59F-AF8D-453F-9BDB-3B928A039C03}" dt="2019-10-04T01:32:24.497" v="159"/>
          <ac:spMkLst>
            <pc:docMk/>
            <pc:sldMk cId="465290428" sldId="727"/>
            <ac:spMk id="84" creationId="{16E2961E-506F-41DE-A66D-292EAA48FDB0}"/>
          </ac:spMkLst>
        </pc:spChg>
        <pc:spChg chg="del">
          <ac:chgData name="Eline Morais Santana" userId="S::elinesantana@br-petrobras.com.br::9b09ed21-70c5-4f55-9d7b-516cd944abbd" providerId="AD" clId="Web-{A154A59F-AF8D-453F-9BDB-3B928A039C03}" dt="2019-10-04T01:32:24.840" v="162"/>
          <ac:spMkLst>
            <pc:docMk/>
            <pc:sldMk cId="465290428" sldId="727"/>
            <ac:spMk id="90" creationId="{15CF2272-68A3-4D7B-83C8-5157F1545EA1}"/>
          </ac:spMkLst>
        </pc:spChg>
        <pc:graphicFrameChg chg="add mod modGraphic">
          <ac:chgData name="Eline Morais Santana" userId="S::elinesantana@br-petrobras.com.br::9b09ed21-70c5-4f55-9d7b-516cd944abbd" providerId="AD" clId="Web-{A154A59F-AF8D-453F-9BDB-3B928A039C03}" dt="2019-10-04T01:33:42.075" v="168" actId="14100"/>
          <ac:graphicFrameMkLst>
            <pc:docMk/>
            <pc:sldMk cId="465290428" sldId="727"/>
            <ac:graphicFrameMk id="3" creationId="{D8FDA0FC-9446-4CD9-A286-0C004ACD7C91}"/>
          </ac:graphicFrameMkLst>
        </pc:graphicFrameChg>
        <pc:graphicFrameChg chg="add mod modGraphic">
          <ac:chgData name="Eline Morais Santana" userId="S::elinesantana@br-petrobras.com.br::9b09ed21-70c5-4f55-9d7b-516cd944abbd" providerId="AD" clId="Web-{A154A59F-AF8D-453F-9BDB-3B928A039C03}" dt="2019-10-04T01:34:56.450" v="189" actId="20577"/>
          <ac:graphicFrameMkLst>
            <pc:docMk/>
            <pc:sldMk cId="465290428" sldId="727"/>
            <ac:graphicFrameMk id="19467" creationId="{89E6AFF5-5023-4D11-9674-B27DD3C9367E}"/>
          </ac:graphicFrameMkLst>
        </pc:graphicFrameChg>
        <pc:picChg chg="mod">
          <ac:chgData name="Eline Morais Santana" userId="S::elinesantana@br-petrobras.com.br::9b09ed21-70c5-4f55-9d7b-516cd944abbd" providerId="AD" clId="Web-{A154A59F-AF8D-453F-9BDB-3B928A039C03}" dt="2019-10-04T01:23:20.089" v="0" actId="1076"/>
          <ac:picMkLst>
            <pc:docMk/>
            <pc:sldMk cId="465290428" sldId="727"/>
            <ac:picMk id="17499" creationId="{63D34880-24DD-47F2-B067-106655050EF6}"/>
          </ac:picMkLst>
        </pc:picChg>
      </pc:sldChg>
    </pc:docChg>
  </pc:docChgLst>
  <pc:docChgLst>
    <pc:chgData name="Eduardo Costa Ramos" userId="S::ecramos@br-petrobras.com.br::974c8535-5751-4334-8031-6b8f183becd7" providerId="AD" clId="Web-{816B0961-C1DC-4739-BED3-91CA7234BD62}"/>
    <pc:docChg chg="modSld">
      <pc:chgData name="Eduardo Costa Ramos" userId="S::ecramos@br-petrobras.com.br::974c8535-5751-4334-8031-6b8f183becd7" providerId="AD" clId="Web-{816B0961-C1DC-4739-BED3-91CA7234BD62}" dt="2019-07-01T13:23:25.463" v="13" actId="20577"/>
      <pc:docMkLst>
        <pc:docMk/>
      </pc:docMkLst>
      <pc:sldChg chg="modSp">
        <pc:chgData name="Eduardo Costa Ramos" userId="S::ecramos@br-petrobras.com.br::974c8535-5751-4334-8031-6b8f183becd7" providerId="AD" clId="Web-{816B0961-C1DC-4739-BED3-91CA7234BD62}" dt="2019-07-01T13:22:56.932" v="5" actId="20577"/>
        <pc:sldMkLst>
          <pc:docMk/>
          <pc:sldMk cId="0" sldId="639"/>
        </pc:sldMkLst>
        <pc:spChg chg="mod">
          <ac:chgData name="Eduardo Costa Ramos" userId="S::ecramos@br-petrobras.com.br::974c8535-5751-4334-8031-6b8f183becd7" providerId="AD" clId="Web-{816B0961-C1DC-4739-BED3-91CA7234BD62}" dt="2019-07-01T13:22:56.932" v="5" actId="20577"/>
          <ac:spMkLst>
            <pc:docMk/>
            <pc:sldMk cId="0" sldId="639"/>
            <ac:spMk id="4" creationId="{00000000-0000-0000-0000-000000000000}"/>
          </ac:spMkLst>
        </pc:spChg>
      </pc:sldChg>
      <pc:sldChg chg="modSp">
        <pc:chgData name="Eduardo Costa Ramos" userId="S::ecramos@br-petrobras.com.br::974c8535-5751-4334-8031-6b8f183becd7" providerId="AD" clId="Web-{816B0961-C1DC-4739-BED3-91CA7234BD62}" dt="2019-07-01T13:23:00.854" v="6" actId="20577"/>
        <pc:sldMkLst>
          <pc:docMk/>
          <pc:sldMk cId="0" sldId="641"/>
        </pc:sldMkLst>
        <pc:spChg chg="mod">
          <ac:chgData name="Eduardo Costa Ramos" userId="S::ecramos@br-petrobras.com.br::974c8535-5751-4334-8031-6b8f183becd7" providerId="AD" clId="Web-{816B0961-C1DC-4739-BED3-91CA7234BD62}" dt="2019-07-01T13:23:00.854" v="6" actId="20577"/>
          <ac:spMkLst>
            <pc:docMk/>
            <pc:sldMk cId="0" sldId="641"/>
            <ac:spMk id="4" creationId="{00000000-0000-0000-0000-000000000000}"/>
          </ac:spMkLst>
        </pc:spChg>
      </pc:sldChg>
      <pc:sldChg chg="modSp">
        <pc:chgData name="Eduardo Costa Ramos" userId="S::ecramos@br-petrobras.com.br::974c8535-5751-4334-8031-6b8f183becd7" providerId="AD" clId="Web-{816B0961-C1DC-4739-BED3-91CA7234BD62}" dt="2019-07-01T13:23:21.994" v="11" actId="20577"/>
        <pc:sldMkLst>
          <pc:docMk/>
          <pc:sldMk cId="3516391879" sldId="673"/>
        </pc:sldMkLst>
        <pc:spChg chg="mod">
          <ac:chgData name="Eduardo Costa Ramos" userId="S::ecramos@br-petrobras.com.br::974c8535-5751-4334-8031-6b8f183becd7" providerId="AD" clId="Web-{816B0961-C1DC-4739-BED3-91CA7234BD62}" dt="2019-07-01T13:23:21.994" v="11" actId="20577"/>
          <ac:spMkLst>
            <pc:docMk/>
            <pc:sldMk cId="3516391879" sldId="673"/>
            <ac:spMk id="7" creationId="{00000000-0000-0000-0000-000000000000}"/>
          </ac:spMkLst>
        </pc:spChg>
      </pc:sldChg>
    </pc:docChg>
  </pc:docChgLst>
  <pc:docChgLst>
    <pc:chgData name="Viviane Antonia Correa Thome" userId="S::vivianec@br-petrobras.com.br::b9a153ef-313d-4389-b52e-cbd595dfd54a" providerId="AD" clId="Web-{0CF2BAFE-A2FC-4141-8EB8-D825FE0E3CD9}"/>
    <pc:docChg chg="delSld">
      <pc:chgData name="Viviane Antonia Correa Thome" userId="S::vivianec@br-petrobras.com.br::b9a153ef-313d-4389-b52e-cbd595dfd54a" providerId="AD" clId="Web-{0CF2BAFE-A2FC-4141-8EB8-D825FE0E3CD9}" dt="2019-06-28T11:58:05.457" v="0"/>
      <pc:docMkLst>
        <pc:docMk/>
      </pc:docMkLst>
      <pc:sldChg chg="del">
        <pc:chgData name="Viviane Antonia Correa Thome" userId="S::vivianec@br-petrobras.com.br::b9a153ef-313d-4389-b52e-cbd595dfd54a" providerId="AD" clId="Web-{0CF2BAFE-A2FC-4141-8EB8-D825FE0E3CD9}" dt="2019-06-28T11:58:05.457" v="0"/>
        <pc:sldMkLst>
          <pc:docMk/>
          <pc:sldMk cId="0" sldId="654"/>
        </pc:sldMkLst>
      </pc:sldChg>
    </pc:docChg>
  </pc:docChgLst>
  <pc:docChgLst>
    <pc:chgData name="Eline Morais Santana" userId="S::elinesantana@br-petrobras.com.br::9b09ed21-70c5-4f55-9d7b-516cd944abbd" providerId="AD" clId="Web-{C2207EED-A888-43FF-A0EF-A446F4B2B411}"/>
    <pc:docChg chg="delSld modSld">
      <pc:chgData name="Eline Morais Santana" userId="S::elinesantana@br-petrobras.com.br::9b09ed21-70c5-4f55-9d7b-516cd944abbd" providerId="AD" clId="Web-{C2207EED-A888-43FF-A0EF-A446F4B2B411}" dt="2019-10-03T20:09:33.456" v="5" actId="20577"/>
      <pc:docMkLst>
        <pc:docMk/>
      </pc:docMkLst>
      <pc:sldChg chg="delSp modSp">
        <pc:chgData name="Eline Morais Santana" userId="S::elinesantana@br-petrobras.com.br::9b09ed21-70c5-4f55-9d7b-516cd944abbd" providerId="AD" clId="Web-{C2207EED-A888-43FF-A0EF-A446F4B2B411}" dt="2019-10-03T20:09:32.925" v="4" actId="20577"/>
        <pc:sldMkLst>
          <pc:docMk/>
          <pc:sldMk cId="416670473" sldId="701"/>
        </pc:sldMkLst>
        <pc:spChg chg="del">
          <ac:chgData name="Eline Morais Santana" userId="S::elinesantana@br-petrobras.com.br::9b09ed21-70c5-4f55-9d7b-516cd944abbd" providerId="AD" clId="Web-{C2207EED-A888-43FF-A0EF-A446F4B2B411}" dt="2019-10-03T20:09:18.861" v="1"/>
          <ac:spMkLst>
            <pc:docMk/>
            <pc:sldMk cId="416670473" sldId="701"/>
            <ac:spMk id="15" creationId="{00000000-0000-0000-0000-000000000000}"/>
          </ac:spMkLst>
        </pc:spChg>
        <pc:spChg chg="mod">
          <ac:chgData name="Eline Morais Santana" userId="S::elinesantana@br-petrobras.com.br::9b09ed21-70c5-4f55-9d7b-516cd944abbd" providerId="AD" clId="Web-{C2207EED-A888-43FF-A0EF-A446F4B2B411}" dt="2019-10-03T20:09:32.925" v="4" actId="20577"/>
          <ac:spMkLst>
            <pc:docMk/>
            <pc:sldMk cId="416670473" sldId="701"/>
            <ac:spMk id="17" creationId="{00000000-0000-0000-0000-000000000000}"/>
          </ac:spMkLst>
        </pc:spChg>
      </pc:sldChg>
      <pc:sldChg chg="delSp del">
        <pc:chgData name="Eline Morais Santana" userId="S::elinesantana@br-petrobras.com.br::9b09ed21-70c5-4f55-9d7b-516cd944abbd" providerId="AD" clId="Web-{C2207EED-A888-43FF-A0EF-A446F4B2B411}" dt="2019-10-03T20:09:24.393" v="2"/>
        <pc:sldMkLst>
          <pc:docMk/>
          <pc:sldMk cId="294510516" sldId="723"/>
        </pc:sldMkLst>
        <pc:spChg chg="del">
          <ac:chgData name="Eline Morais Santana" userId="S::elinesantana@br-petrobras.com.br::9b09ed21-70c5-4f55-9d7b-516cd944abbd" providerId="AD" clId="Web-{C2207EED-A888-43FF-A0EF-A446F4B2B411}" dt="2019-10-03T20:09:15.861" v="0"/>
          <ac:spMkLst>
            <pc:docMk/>
            <pc:sldMk cId="294510516" sldId="723"/>
            <ac:spMk id="25" creationId="{00000000-0000-0000-0000-000000000000}"/>
          </ac:spMkLst>
        </pc:spChg>
      </pc:sldChg>
    </pc:docChg>
  </pc:docChgLst>
  <pc:docChgLst>
    <pc:chgData name="Eline Morais Santana" userId="S::elinesantana@br-petrobras.com.br::9b09ed21-70c5-4f55-9d7b-516cd944abbd" providerId="AD" clId="Web-{9DB0B044-9084-4953-9BA4-9AB90728ADA5}"/>
    <pc:docChg chg="addSld modSld">
      <pc:chgData name="Eline Morais Santana" userId="S::elinesantana@br-petrobras.com.br::9b09ed21-70c5-4f55-9d7b-516cd944abbd" providerId="AD" clId="Web-{9DB0B044-9084-4953-9BA4-9AB90728ADA5}" dt="2019-08-29T16:54:09.704" v="21" actId="1076"/>
      <pc:docMkLst>
        <pc:docMk/>
      </pc:docMkLst>
      <pc:sldChg chg="addSp delSp modSp">
        <pc:chgData name="Eline Morais Santana" userId="S::elinesantana@br-petrobras.com.br::9b09ed21-70c5-4f55-9d7b-516cd944abbd" providerId="AD" clId="Web-{9DB0B044-9084-4953-9BA4-9AB90728ADA5}" dt="2019-08-29T16:54:09.704" v="21" actId="1076"/>
        <pc:sldMkLst>
          <pc:docMk/>
          <pc:sldMk cId="416670473" sldId="701"/>
        </pc:sldMkLst>
        <pc:spChg chg="mod">
          <ac:chgData name="Eline Morais Santana" userId="S::elinesantana@br-petrobras.com.br::9b09ed21-70c5-4f55-9d7b-516cd944abbd" providerId="AD" clId="Web-{9DB0B044-9084-4953-9BA4-9AB90728ADA5}" dt="2019-08-29T16:51:00.674" v="16" actId="20577"/>
          <ac:spMkLst>
            <pc:docMk/>
            <pc:sldMk cId="416670473" sldId="701"/>
            <ac:spMk id="4" creationId="{00000000-0000-0000-0000-000000000000}"/>
          </ac:spMkLst>
        </pc:spChg>
        <pc:spChg chg="add mod">
          <ac:chgData name="Eline Morais Santana" userId="S::elinesantana@br-petrobras.com.br::9b09ed21-70c5-4f55-9d7b-516cd944abbd" providerId="AD" clId="Web-{9DB0B044-9084-4953-9BA4-9AB90728ADA5}" dt="2019-08-29T16:54:09.704" v="21" actId="1076"/>
          <ac:spMkLst>
            <pc:docMk/>
            <pc:sldMk cId="416670473" sldId="701"/>
            <ac:spMk id="5" creationId="{43824169-B5D0-469D-B380-ECB494FF678F}"/>
          </ac:spMkLst>
        </pc:spChg>
        <pc:spChg chg="del">
          <ac:chgData name="Eline Morais Santana" userId="S::elinesantana@br-petrobras.com.br::9b09ed21-70c5-4f55-9d7b-516cd944abbd" providerId="AD" clId="Web-{9DB0B044-9084-4953-9BA4-9AB90728ADA5}" dt="2019-08-29T16:50:35.424" v="6"/>
          <ac:spMkLst>
            <pc:docMk/>
            <pc:sldMk cId="416670473" sldId="701"/>
            <ac:spMk id="25" creationId="{00000000-0000-0000-0000-000000000000}"/>
          </ac:spMkLst>
        </pc:spChg>
        <pc:picChg chg="add mod">
          <ac:chgData name="Eline Morais Santana" userId="S::elinesantana@br-petrobras.com.br::9b09ed21-70c5-4f55-9d7b-516cd944abbd" providerId="AD" clId="Web-{9DB0B044-9084-4953-9BA4-9AB90728ADA5}" dt="2019-08-29T16:53:40.798" v="18" actId="1076"/>
          <ac:picMkLst>
            <pc:docMk/>
            <pc:sldMk cId="416670473" sldId="701"/>
            <ac:picMk id="2" creationId="{25877BC0-FACC-496F-9700-AF9450F65503}"/>
          </ac:picMkLst>
        </pc:picChg>
      </pc:sldChg>
      <pc:sldChg chg="add replId">
        <pc:chgData name="Eline Morais Santana" userId="S::elinesantana@br-petrobras.com.br::9b09ed21-70c5-4f55-9d7b-516cd944abbd" providerId="AD" clId="Web-{9DB0B044-9084-4953-9BA4-9AB90728ADA5}" dt="2019-08-29T16:50:17.237" v="0"/>
        <pc:sldMkLst>
          <pc:docMk/>
          <pc:sldMk cId="1118916154" sldId="716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2DCD3B-F53E-4969-B7F8-657CD8948E9F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0C961F-9A81-4288-BB2D-B6D7957C0FD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0813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752C4-D929-42E3-9D09-36B07DA6DA0C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40346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50354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54475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878285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716822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56783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65320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41052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75049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860835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7208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450047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518755" y="90486"/>
            <a:ext cx="542925" cy="504825"/>
          </a:xfrm>
          <a:prstGeom prst="rect">
            <a:avLst/>
          </a:prstGeom>
        </p:spPr>
      </p:pic>
      <p:pic>
        <p:nvPicPr>
          <p:cNvPr id="8" name="Picture 12" descr="3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6351" y="960"/>
            <a:ext cx="12128501" cy="686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5755" y="116632"/>
            <a:ext cx="9916683" cy="432048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8EA591-619C-4AFB-B7DE-8DFD0F6EC8DF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97EB9-B628-474D-A7D3-2F75ECBD743A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3"/>
          </p:nvPr>
        </p:nvSpPr>
        <p:spPr>
          <a:xfrm>
            <a:off x="624418" y="1484314"/>
            <a:ext cx="10943167" cy="4537075"/>
          </a:xfrm>
        </p:spPr>
        <p:txBody>
          <a:bodyPr anchor="ctr"/>
          <a:lstStyle>
            <a:lvl1pPr>
              <a:lnSpc>
                <a:spcPct val="150000"/>
              </a:lnSpc>
              <a:buNone/>
              <a:defRPr/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89749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14:gallery dir="l"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054036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44407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86243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73252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6829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653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89578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9382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41A698-03A5-4D69-BCBF-904E6C7B1C9E}" type="datetimeFigureOut">
              <a:rPr lang="pt-BR" smtClean="0"/>
              <a:pPr/>
              <a:t>29/01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F354AC-3EAB-4957-8F5C-AC0E5CC5BA5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54199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22" name="Imagem 5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321" name="Object 5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96918" y="160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" name="Slide do think-cell" r:id="rId7" imgW="360" imgH="360" progId="">
                  <p:embed/>
                </p:oleObj>
              </mc:Choice>
              <mc:Fallback>
                <p:oleObj name="Slide do think-cell" r:id="rId7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6918" y="1605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23" name="Rectangle 3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5326" y="0"/>
            <a:ext cx="187325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324" name="TextBox 5"/>
          <p:cNvSpPr txBox="1">
            <a:spLocks noChangeArrowheads="1"/>
          </p:cNvSpPr>
          <p:nvPr/>
        </p:nvSpPr>
        <p:spPr bwMode="auto">
          <a:xfrm>
            <a:off x="0" y="2044517"/>
            <a:ext cx="6823057" cy="1446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1" tIns="45716" rIns="91431" bIns="45716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4400" b="1" dirty="0">
                <a:solidFill>
                  <a:srgbClr val="FFFFFF"/>
                </a:solidFill>
                <a:latin typeface="+mj-lt"/>
                <a:ea typeface="ヒラギノ角ゴ ProN W3"/>
                <a:cs typeface="Arial" charset="0"/>
              </a:rPr>
              <a:t>Framework </a:t>
            </a:r>
            <a:r>
              <a:rPr lang="pt-BR" sz="4400" b="1" dirty="0" err="1">
                <a:solidFill>
                  <a:srgbClr val="FFFFFF"/>
                </a:solidFill>
                <a:latin typeface="+mj-lt"/>
                <a:ea typeface="ヒラギノ角ゴ ProN W3"/>
                <a:cs typeface="Arial" charset="0"/>
              </a:rPr>
              <a:t>Advanced</a:t>
            </a:r>
            <a:r>
              <a:rPr lang="pt-BR" sz="4400" b="1" dirty="0">
                <a:solidFill>
                  <a:srgbClr val="FFFFFF"/>
                </a:solidFill>
                <a:latin typeface="+mj-lt"/>
                <a:ea typeface="ヒラギノ角ゴ ProN W3"/>
                <a:cs typeface="Arial" charset="0"/>
              </a:rPr>
              <a:t> </a:t>
            </a:r>
            <a:r>
              <a:rPr lang="pt-BR" sz="4400" b="1" dirty="0" err="1">
                <a:solidFill>
                  <a:srgbClr val="FFFFFF"/>
                </a:solidFill>
                <a:latin typeface="+mj-lt"/>
                <a:ea typeface="ヒラギノ角ゴ ProN W3"/>
                <a:cs typeface="Arial" charset="0"/>
              </a:rPr>
              <a:t>Analytics</a:t>
            </a:r>
            <a:r>
              <a:rPr lang="pt-BR" sz="4400" b="1" dirty="0">
                <a:solidFill>
                  <a:srgbClr val="FFFFFF"/>
                </a:solidFill>
                <a:latin typeface="+mj-lt"/>
                <a:ea typeface="ヒラギノ角ゴ ProN W3"/>
                <a:cs typeface="Arial" charset="0"/>
              </a:rPr>
              <a:t> – Python - </a:t>
            </a:r>
            <a:r>
              <a:rPr lang="pt-BR" sz="4400" b="1" dirty="0" err="1">
                <a:solidFill>
                  <a:srgbClr val="FFFFFF"/>
                </a:solidFill>
                <a:latin typeface="+mj-lt"/>
                <a:ea typeface="ヒラギノ角ゴ ProN W3"/>
                <a:cs typeface="Arial" charset="0"/>
              </a:rPr>
              <a:t>Alteryx</a:t>
            </a:r>
            <a:endParaRPr lang="pt-BR" sz="4400" b="1" dirty="0">
              <a:solidFill>
                <a:srgbClr val="FFFFFF"/>
              </a:solidFill>
              <a:latin typeface="+mj-lt"/>
              <a:ea typeface="ヒラギノ角ゴ ProN W3"/>
              <a:cs typeface="Arial" charset="0"/>
            </a:endParaRPr>
          </a:p>
        </p:txBody>
      </p:sp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502428" y="158195"/>
            <a:ext cx="435298" cy="425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aixaDeTexto 8"/>
          <p:cNvSpPr txBox="1"/>
          <p:nvPr/>
        </p:nvSpPr>
        <p:spPr>
          <a:xfrm>
            <a:off x="3548142" y="6118467"/>
            <a:ext cx="986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</a:rPr>
              <a:t>01/2021</a:t>
            </a:r>
          </a:p>
        </p:txBody>
      </p:sp>
      <p:sp>
        <p:nvSpPr>
          <p:cNvPr id="10" name="Espaço Reservado para Texto 2"/>
          <p:cNvSpPr txBox="1">
            <a:spLocks/>
          </p:cNvSpPr>
          <p:nvPr/>
        </p:nvSpPr>
        <p:spPr>
          <a:xfrm>
            <a:off x="9173629" y="3846204"/>
            <a:ext cx="3117869" cy="156404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9845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Pipeline de dados em Ad. </a:t>
            </a:r>
            <a:r>
              <a:rPr lang="pt-BR" sz="3200" b="1" i="1" dirty="0" err="1">
                <a:solidFill>
                  <a:srgbClr val="002060"/>
                </a:solidFill>
              </a:rPr>
              <a:t>Analytics</a:t>
            </a:r>
            <a:endParaRPr lang="pt-BR" sz="3200" b="1" i="1" dirty="0">
              <a:solidFill>
                <a:srgbClr val="002060"/>
              </a:solidFill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10B577B-645F-49C1-AA2F-604EB30A99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353" y="1527759"/>
            <a:ext cx="10326119" cy="455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809759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Pipeline detalhado de dados em Ad. </a:t>
            </a:r>
            <a:r>
              <a:rPr lang="pt-BR" sz="3200" b="1" i="1" dirty="0" err="1">
                <a:solidFill>
                  <a:srgbClr val="002060"/>
                </a:solidFill>
              </a:rPr>
              <a:t>Analytics</a:t>
            </a:r>
            <a:endParaRPr lang="pt-BR" sz="3200" b="1" i="1" dirty="0">
              <a:solidFill>
                <a:srgbClr val="002060"/>
              </a:solidFill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B326731A-8D3A-42E4-8A71-11E65C7B91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2197" y="759657"/>
            <a:ext cx="9321646" cy="571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940355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Pipeline detalhado de dados em Ad. </a:t>
            </a:r>
            <a:r>
              <a:rPr lang="pt-BR" sz="3200" b="1" i="1" dirty="0" err="1">
                <a:solidFill>
                  <a:srgbClr val="002060"/>
                </a:solidFill>
              </a:rPr>
              <a:t>Analytics</a:t>
            </a:r>
            <a:endParaRPr lang="pt-BR" sz="3200" b="1" i="1" dirty="0">
              <a:solidFill>
                <a:srgbClr val="002060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1D4D3BF4-4E8F-4463-8661-1207A78435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6601" y="1438331"/>
            <a:ext cx="6598797" cy="2327618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D04AA8A4-224B-4E3E-80CF-E2D128D3C1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6174" y="4369298"/>
            <a:ext cx="7915275" cy="1876425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87D30A57-509C-49D7-AAA3-CF90A3629B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551" y="4369298"/>
            <a:ext cx="3381528" cy="2009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24267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Python – funções criadas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9A43EB1B-638C-4EF4-A206-7BCDBBD34B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1974" y="1067438"/>
            <a:ext cx="9183712" cy="5132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953082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Python – funções criada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9DA9830F-20A3-45FC-B454-8F1D210E6B89}"/>
              </a:ext>
            </a:extLst>
          </p:cNvPr>
          <p:cNvSpPr txBox="1"/>
          <p:nvPr/>
        </p:nvSpPr>
        <p:spPr>
          <a:xfrm>
            <a:off x="717452" y="1533378"/>
            <a:ext cx="368573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/>
              <a:t>Subsets</a:t>
            </a:r>
            <a:r>
              <a:rPr lang="pt-BR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Train_test_split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b="1" dirty="0"/>
              <a:t>Data </a:t>
            </a:r>
            <a:r>
              <a:rPr lang="pt-BR" b="1" dirty="0" err="1"/>
              <a:t>cleaning</a:t>
            </a:r>
            <a:r>
              <a:rPr lang="pt-BR" b="1" dirty="0"/>
              <a:t>:</a:t>
            </a:r>
            <a:r>
              <a:rPr lang="pt-BR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dc_fillna_custom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dc_duplicatas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dc_nulos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dc_features_tipos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Oulier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b="1" dirty="0" err="1"/>
              <a:t>Feature</a:t>
            </a:r>
            <a:r>
              <a:rPr lang="pt-BR" b="1" dirty="0"/>
              <a:t> </a:t>
            </a:r>
            <a:r>
              <a:rPr lang="pt-BR" b="1" dirty="0" err="1"/>
              <a:t>Engineering</a:t>
            </a:r>
            <a:r>
              <a:rPr lang="pt-BR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fe_categorical_transform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fe_numerical_transform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Original_e_transformada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fe_resampler_regression</a:t>
            </a:r>
            <a:endParaRPr lang="pt-BR" dirty="0"/>
          </a:p>
          <a:p>
            <a:endParaRPr lang="pt-BR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E07EAFF3-E109-40E3-9EF1-4884384E063C}"/>
              </a:ext>
            </a:extLst>
          </p:cNvPr>
          <p:cNvSpPr txBox="1"/>
          <p:nvPr/>
        </p:nvSpPr>
        <p:spPr>
          <a:xfrm>
            <a:off x="6334177" y="1246117"/>
            <a:ext cx="455421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  <a:p>
            <a:r>
              <a:rPr lang="pt-BR" b="1" dirty="0" err="1"/>
              <a:t>Feature</a:t>
            </a:r>
            <a:r>
              <a:rPr lang="pt-BR" b="1" dirty="0"/>
              <a:t> </a:t>
            </a:r>
            <a:r>
              <a:rPr lang="pt-BR" b="1" dirty="0" err="1"/>
              <a:t>Selection</a:t>
            </a:r>
            <a:r>
              <a:rPr lang="pt-BR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Fs_variância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Fs_correlation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Fs_kbest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Fs_fromModel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b="1" dirty="0"/>
              <a:t>Modelagem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Auto_ml_regressor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João está unificando regressão e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b="1" dirty="0" err="1"/>
              <a:t>Error</a:t>
            </a:r>
            <a:r>
              <a:rPr lang="pt-BR" b="1" dirty="0"/>
              <a:t> </a:t>
            </a:r>
            <a:r>
              <a:rPr lang="pt-BR" b="1" dirty="0" err="1"/>
              <a:t>Analysis</a:t>
            </a:r>
            <a:r>
              <a:rPr lang="pt-BR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Decomposicao_bias_variância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/>
              <a:t>Report_features_erros_model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91779919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 err="1">
                <a:solidFill>
                  <a:srgbClr val="002060"/>
                </a:solidFill>
              </a:rPr>
              <a:t>Alteryx</a:t>
            </a:r>
            <a:r>
              <a:rPr lang="pt-BR" sz="3200" b="1" i="1" dirty="0">
                <a:solidFill>
                  <a:srgbClr val="002060"/>
                </a:solidFill>
              </a:rPr>
              <a:t> – pipeline de dados</a:t>
            </a:r>
          </a:p>
        </p:txBody>
      </p:sp>
    </p:spTree>
    <p:extLst>
      <p:ext uri="{BB962C8B-B14F-4D97-AF65-F5344CB8AC3E}">
        <p14:creationId xmlns:p14="http://schemas.microsoft.com/office/powerpoint/2010/main" val="792422082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 err="1">
                <a:solidFill>
                  <a:srgbClr val="002060"/>
                </a:solidFill>
              </a:rPr>
              <a:t>Alteryx</a:t>
            </a:r>
            <a:r>
              <a:rPr lang="pt-BR" sz="3200" b="1" i="1" dirty="0">
                <a:solidFill>
                  <a:srgbClr val="002060"/>
                </a:solidFill>
              </a:rPr>
              <a:t> – macros criadas e a serem criadas</a:t>
            </a:r>
          </a:p>
        </p:txBody>
      </p:sp>
    </p:spTree>
    <p:extLst>
      <p:ext uri="{BB962C8B-B14F-4D97-AF65-F5344CB8AC3E}">
        <p14:creationId xmlns:p14="http://schemas.microsoft.com/office/powerpoint/2010/main" val="3467007845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 err="1">
                <a:solidFill>
                  <a:srgbClr val="002060"/>
                </a:solidFill>
              </a:rPr>
              <a:t>Alteryx</a:t>
            </a:r>
            <a:r>
              <a:rPr lang="pt-BR" sz="3200" b="1" i="1" dirty="0">
                <a:solidFill>
                  <a:srgbClr val="002060"/>
                </a:solidFill>
              </a:rPr>
              <a:t> – macros – configuração de parâmetros</a:t>
            </a:r>
          </a:p>
        </p:txBody>
      </p:sp>
    </p:spTree>
    <p:extLst>
      <p:ext uri="{BB962C8B-B14F-4D97-AF65-F5344CB8AC3E}">
        <p14:creationId xmlns:p14="http://schemas.microsoft.com/office/powerpoint/2010/main" val="741693917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bOEn_t6UGZPtQ4_melt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399FC119FBAEB46A4EBF99487D59892" ma:contentTypeVersion="2" ma:contentTypeDescription="Crie um novo documento." ma:contentTypeScope="" ma:versionID="cc09bec2b6c0449c63c251a4c17c0499">
  <xsd:schema xmlns:xsd="http://www.w3.org/2001/XMLSchema" xmlns:xs="http://www.w3.org/2001/XMLSchema" xmlns:p="http://schemas.microsoft.com/office/2006/metadata/properties" xmlns:ns2="f362aee7-d3d2-4f18-81c2-0184b47d6ceb" targetNamespace="http://schemas.microsoft.com/office/2006/metadata/properties" ma:root="true" ma:fieldsID="c6bf38603d1630295a740bce82f0a39f" ns2:_="">
    <xsd:import namespace="f362aee7-d3d2-4f18-81c2-0184b47d6c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62aee7-d3d2-4f18-81c2-0184b47d6c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8E7903A-CE4B-4ADE-91A6-95CA87696018}">
  <ds:schemaRefs>
    <ds:schemaRef ds:uri="f362aee7-d3d2-4f18-81c2-0184b47d6ce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25744FD-E2B7-4E8B-8B6F-FA7CE6146B1F}">
  <ds:schemaRefs>
    <ds:schemaRef ds:uri="f362aee7-d3d2-4f18-81c2-0184b47d6c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2B81020-8F53-42D9-9068-70ED1200B14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446</TotalTime>
  <Words>162</Words>
  <Application>Microsoft Office PowerPoint</Application>
  <PresentationFormat>Widescreen</PresentationFormat>
  <Paragraphs>48</Paragraphs>
  <Slides>9</Slides>
  <Notes>9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Tema do Office</vt:lpstr>
      <vt:lpstr>Slide do think-cell</vt:lpstr>
      <vt:lpstr>Apresentação do PowerPoint</vt:lpstr>
      <vt:lpstr>Pipeline de dados em Ad. Analytics</vt:lpstr>
      <vt:lpstr>Pipeline detalhado de dados em Ad. Analytics</vt:lpstr>
      <vt:lpstr>Pipeline detalhado de dados em Ad. Analytics</vt:lpstr>
      <vt:lpstr>Python – funções criadas</vt:lpstr>
      <vt:lpstr>Python – funções criadas</vt:lpstr>
      <vt:lpstr>Alteryx – pipeline de dados</vt:lpstr>
      <vt:lpstr>Alteryx – macros criadas e a serem criadas</vt:lpstr>
      <vt:lpstr>Alteryx – macros – configuração de parâmetros</vt:lpstr>
    </vt:vector>
  </TitlesOfParts>
  <Company>PETROBRAS DISTRIBUIDORA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Eduardo Costa Ramos</dc:creator>
  <cp:lastModifiedBy>Eric Esteves Aderne</cp:lastModifiedBy>
  <cp:revision>25</cp:revision>
  <dcterms:created xsi:type="dcterms:W3CDTF">2018-06-27T15:30:01Z</dcterms:created>
  <dcterms:modified xsi:type="dcterms:W3CDTF">2021-01-29T18:1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99FC119FBAEB46A4EBF99487D59892</vt:lpwstr>
  </property>
  <property fmtid="{D5CDD505-2E9C-101B-9397-08002B2CF9AE}" pid="3" name="MSIP_Label_22deaceb-9851-4663-bccf-596767454be3_Enabled">
    <vt:lpwstr>True</vt:lpwstr>
  </property>
  <property fmtid="{D5CDD505-2E9C-101B-9397-08002B2CF9AE}" pid="4" name="MSIP_Label_22deaceb-9851-4663-bccf-596767454be3_SiteId">
    <vt:lpwstr>809f94a6-0477-4390-b86e-eab14c5493a7</vt:lpwstr>
  </property>
  <property fmtid="{D5CDD505-2E9C-101B-9397-08002B2CF9AE}" pid="5" name="MSIP_Label_22deaceb-9851-4663-bccf-596767454be3_Owner">
    <vt:lpwstr>ecramos@br-petrobras.com.br</vt:lpwstr>
  </property>
  <property fmtid="{D5CDD505-2E9C-101B-9397-08002B2CF9AE}" pid="6" name="MSIP_Label_22deaceb-9851-4663-bccf-596767454be3_SetDate">
    <vt:lpwstr>2019-06-27T18:59:16.6875300Z</vt:lpwstr>
  </property>
  <property fmtid="{D5CDD505-2E9C-101B-9397-08002B2CF9AE}" pid="7" name="MSIP_Label_22deaceb-9851-4663-bccf-596767454be3_Name">
    <vt:lpwstr>NP-1</vt:lpwstr>
  </property>
  <property fmtid="{D5CDD505-2E9C-101B-9397-08002B2CF9AE}" pid="8" name="MSIP_Label_22deaceb-9851-4663-bccf-596767454be3_Application">
    <vt:lpwstr>Microsoft Azure Information Protection</vt:lpwstr>
  </property>
  <property fmtid="{D5CDD505-2E9C-101B-9397-08002B2CF9AE}" pid="9" name="MSIP_Label_22deaceb-9851-4663-bccf-596767454be3_ActionId">
    <vt:lpwstr>f751e4d3-b7a6-42bf-804b-eaefa337036a</vt:lpwstr>
  </property>
  <property fmtid="{D5CDD505-2E9C-101B-9397-08002B2CF9AE}" pid="10" name="MSIP_Label_22deaceb-9851-4663-bccf-596767454be3_Extended_MSFT_Method">
    <vt:lpwstr>Automatic</vt:lpwstr>
  </property>
  <property fmtid="{D5CDD505-2E9C-101B-9397-08002B2CF9AE}" pid="11" name="Sensitivity">
    <vt:lpwstr>NP-1</vt:lpwstr>
  </property>
</Properties>
</file>